
<file path=[Content_Types].xml><?xml version="1.0" encoding="utf-8"?>
<Types xmlns="http://schemas.openxmlformats.org/package/2006/content-types"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  <p:sldMasterId id="2147483677" r:id="rId2"/>
  </p:sldMasterIdLst>
  <p:notesMasterIdLst>
    <p:notesMasterId r:id="rId28"/>
  </p:notesMasterIdLst>
  <p:handoutMasterIdLst>
    <p:handoutMasterId r:id="rId29"/>
  </p:handoutMasterIdLst>
  <p:sldIdLst>
    <p:sldId id="292" r:id="rId3"/>
    <p:sldId id="316" r:id="rId4"/>
    <p:sldId id="346" r:id="rId5"/>
    <p:sldId id="289" r:id="rId6"/>
    <p:sldId id="325" r:id="rId7"/>
    <p:sldId id="326" r:id="rId8"/>
    <p:sldId id="327" r:id="rId9"/>
    <p:sldId id="328" r:id="rId10"/>
    <p:sldId id="329" r:id="rId11"/>
    <p:sldId id="330" r:id="rId12"/>
    <p:sldId id="331" r:id="rId13"/>
    <p:sldId id="332" r:id="rId14"/>
    <p:sldId id="333" r:id="rId15"/>
    <p:sldId id="335" r:id="rId16"/>
    <p:sldId id="336" r:id="rId17"/>
    <p:sldId id="337" r:id="rId18"/>
    <p:sldId id="338" r:id="rId19"/>
    <p:sldId id="339" r:id="rId20"/>
    <p:sldId id="340" r:id="rId21"/>
    <p:sldId id="341" r:id="rId22"/>
    <p:sldId id="342" r:id="rId23"/>
    <p:sldId id="343" r:id="rId24"/>
    <p:sldId id="344" r:id="rId25"/>
    <p:sldId id="345" r:id="rId26"/>
    <p:sldId id="324" r:id="rId27"/>
  </p:sldIdLst>
  <p:sldSz cx="9144000" cy="6858000" type="screen4x3"/>
  <p:notesSz cx="6858000" cy="9144000"/>
  <p:embeddedFontLst>
    <p:embeddedFont>
      <p:font typeface="Lato" panose="020B0604020202020204" charset="0"/>
      <p:regular r:id="rId30"/>
      <p:bold r:id="rId31"/>
    </p:embeddedFont>
    <p:embeddedFont>
      <p:font typeface="Segoe UI Light" panose="020B0502040204020203" pitchFamily="34" charset="0"/>
      <p:regular r:id="rId32"/>
      <p:italic r:id="rId33"/>
    </p:embeddedFont>
    <p:embeddedFont>
      <p:font typeface="Segoe UI Black" panose="020B0A02040204020203" pitchFamily="34" charset="0"/>
      <p:bold r:id="rId34"/>
      <p:boldItalic r:id="rId35"/>
    </p:embeddedFont>
    <p:embeddedFont>
      <p:font typeface="Segoe UI Semilight" panose="020B0402040204020203" pitchFamily="34" charset="0"/>
      <p:regular r:id="rId36"/>
      <p:italic r:id="rId37"/>
    </p:embeddedFont>
    <p:embeddedFont>
      <p:font typeface="Segoe UI" panose="020B0502040204020203" pitchFamily="34" charset="0"/>
      <p:regular r:id="rId38"/>
      <p:bold r:id="rId39"/>
      <p:italic r:id="rId40"/>
      <p:boldItalic r:id="rId41"/>
    </p:embeddedFont>
    <p:embeddedFont>
      <p:font typeface="Wingdings 3" panose="05040102010807070707" pitchFamily="18" charset="2"/>
      <p:regular r:id="rId42"/>
    </p:embeddedFont>
    <p:embeddedFont>
      <p:font typeface="Open Sans" panose="020B0604020202020204" charset="0"/>
      <p:regular r:id="rId43"/>
      <p:bold r:id="rId44"/>
      <p:italic r:id="rId45"/>
    </p:embeddedFont>
    <p:embeddedFont>
      <p:font typeface="Consolas" panose="020B0609020204030204" pitchFamily="49" charset="0"/>
      <p:regular r:id="rId46"/>
      <p:bold r:id="rId47"/>
      <p:italic r:id="rId48"/>
      <p:boldItalic r:id="rId49"/>
    </p:embeddedFont>
    <p:embeddedFont>
      <p:font typeface="Calibri" panose="020F0502020204030204" pitchFamily="34" charset="0"/>
      <p:regular r:id="rId50"/>
      <p:bold r:id="rId51"/>
      <p:italic r:id="rId52"/>
      <p:boldItalic r:id="rId53"/>
    </p:embeddedFont>
    <p:embeddedFont>
      <p:font typeface="Segoe UI Semibold" panose="020B0702040204020203" pitchFamily="34" charset="0"/>
      <p:bold r:id="rId54"/>
      <p:boldItalic r:id="rId55"/>
    </p:embeddedFont>
  </p:embeddedFont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567A"/>
    <a:srgbClr val="B72740"/>
    <a:srgbClr val="1D5A7D"/>
    <a:srgbClr val="024C6A"/>
    <a:srgbClr val="1C5A7D"/>
    <a:srgbClr val="B61919"/>
    <a:srgbClr val="003366"/>
    <a:srgbClr val="DA435D"/>
    <a:srgbClr val="DB445E"/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691" autoAdjust="0"/>
    <p:restoredTop sz="94343" autoAdjust="0"/>
  </p:normalViewPr>
  <p:slideViewPr>
    <p:cSldViewPr snapToGrid="0">
      <p:cViewPr varScale="1">
        <p:scale>
          <a:sx n="73" d="100"/>
          <a:sy n="73" d="100"/>
        </p:scale>
        <p:origin x="1656" y="5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196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10.fntdata"/><Relationship Id="rId21" Type="http://schemas.openxmlformats.org/officeDocument/2006/relationships/slide" Target="slides/slide19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font" Target="fonts/font22.fntdata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8AEE89-A2E4-45A1-879C-48008A001B3B}" type="datetimeFigureOut">
              <a:rPr lang="pl-PL" smtClean="0"/>
              <a:t>07.10.2016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6CC86B-FC56-48ED-9BDF-A813007A2F0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340150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C79EB1-85EA-4246-A2B6-F90665481C63}" type="datetimeFigureOut">
              <a:rPr lang="pl-PL" smtClean="0"/>
              <a:t>07.10.2016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9405EA-71D7-4A12-BB6D-CB438B3F851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74719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27545" y="1266825"/>
            <a:ext cx="8393373" cy="471646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3"/>
              </a:buBlip>
              <a:defRPr sz="2800"/>
            </a:lvl1pPr>
            <a:lvl2pPr marL="685800" indent="-228600">
              <a:buFontTx/>
              <a:buBlip>
                <a:blip r:embed="rId3"/>
              </a:buBlip>
              <a:defRPr sz="2400"/>
            </a:lvl2pPr>
            <a:lvl3pPr marL="1143000" indent="-228600">
              <a:buFontTx/>
              <a:buBlip>
                <a:blip r:embed="rId3"/>
              </a:buBlip>
              <a:defRPr/>
            </a:lvl3pPr>
            <a:lvl4pPr marL="1600200" indent="-228600">
              <a:buFontTx/>
              <a:buBlip>
                <a:blip r:embed="rId3"/>
              </a:buBlip>
              <a:defRPr sz="1800" baseline="0"/>
            </a:lvl4pPr>
            <a:lvl5pPr marL="2057400" indent="-228600">
              <a:buFontTx/>
              <a:buBlip>
                <a:blip r:embed="rId3"/>
              </a:buBlip>
              <a:defRPr sz="14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7545" y="196821"/>
            <a:ext cx="8393373" cy="685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dirty="0"/>
              <a:t>KLIKNIJ, ABY EDYTOWAĆ STY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315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5886" y="3059668"/>
            <a:ext cx="4588114" cy="369332"/>
          </a:xfrm>
        </p:spPr>
        <p:txBody>
          <a:bodyPr wrap="none">
            <a:spAutoFit/>
          </a:bodyPr>
          <a:lstStyle>
            <a:lvl1pPr marL="0" indent="0" algn="r"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83659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10632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bg1">
                  <a:lumMod val="85000"/>
                </a:schemeClr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14402"/>
            <a:ext cx="8686800" cy="52117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0"/>
            <a:ext cx="8991600" cy="762000"/>
          </a:xfrm>
        </p:spPr>
        <p:txBody>
          <a:bodyPr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5302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041400"/>
            <a:ext cx="6858000" cy="2387600"/>
          </a:xfrm>
        </p:spPr>
        <p:txBody>
          <a:bodyPr anchor="b"/>
          <a:lstStyle>
            <a:lvl1pPr algn="ctr">
              <a:defRPr sz="4050"/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pl-PL"/>
              <a:t>Kliknij, aby edytować styl wzorca podtytuł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CA3DA43-B1AF-4258-AE55-7A48D86CEB81}" type="datetime1">
              <a:rPr lang="pl-PL" smtClean="0"/>
              <a:t>07.10.2016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BB52D-526B-4C95-BD44-33F2E17B3734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56240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E84E9-DCEC-46C1-BD3C-E708BBF87BA4}" type="datetimeFigureOut">
              <a:rPr lang="pl-PL" smtClean="0"/>
              <a:t>07.10.2016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E2F2C-CEC0-4EFA-9CD1-D69A04D5D793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455309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4406901"/>
            <a:ext cx="7886700" cy="1362075"/>
          </a:xfrm>
        </p:spPr>
        <p:txBody>
          <a:bodyPr anchor="t"/>
          <a:lstStyle>
            <a:lvl1pPr>
              <a:defRPr sz="3000" b="1"/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2906713"/>
            <a:ext cx="78867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894AA34-FC33-406A-8446-494124280B85}" type="datetime1">
              <a:rPr lang="pl-PL" smtClean="0"/>
              <a:t>07.10.2016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D48D3-1B43-487D-96AD-087F533D7BC4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696494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0863"/>
            <a:ext cx="3886200" cy="435133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0863"/>
            <a:ext cx="3886200" cy="435133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38C0237-B676-4449-9BF7-621453F77178}" type="datetime1">
              <a:rPr lang="pl-PL" smtClean="0"/>
              <a:t>07.10.2016</a:t>
            </a:fld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7D5F0-1D25-4F4B-AAD6-162891054BA8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641185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274638"/>
            <a:ext cx="7886700" cy="1143000"/>
          </a:xfrm>
        </p:spPr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1535113"/>
            <a:ext cx="386715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888" y="2174876"/>
            <a:ext cx="3867150" cy="3997325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2248" y="1535113"/>
            <a:ext cx="386834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2248" y="2174876"/>
            <a:ext cx="3868340" cy="3997325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649238-CE63-4DE7-AD49-D5E437F3188F}" type="datetime1">
              <a:rPr lang="pl-PL" smtClean="0"/>
              <a:t>07.10.2016</a:t>
            </a:fld>
            <a:endParaRPr lang="pl-P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l-P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FA8487-093F-4DD4-8F8D-1E6763901688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283173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5F466D6-BAB5-45EE-AA49-0308F35D3EE9}" type="datetime1">
              <a:rPr lang="pl-PL" smtClean="0"/>
              <a:t>07.10.2016</a:t>
            </a:fld>
            <a:endParaRPr lang="pl-P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9EC1B-B947-46F3-9116-CB0608CCBB2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524751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DE05FFD-0B33-4E3D-BDA8-68A325E7752D}" type="datetime1">
              <a:rPr lang="pl-PL" smtClean="0"/>
              <a:t>07.10.2016</a:t>
            </a:fld>
            <a:endParaRPr lang="pl-P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C30DC-E2FA-4008-AAFE-AA1A20D15EC9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3059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7026" y="1171074"/>
            <a:ext cx="4052470" cy="495667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2800"/>
            </a:lvl1pPr>
            <a:lvl2pPr marL="685800" indent="-228600">
              <a:buFontTx/>
              <a:buBlip>
                <a:blip r:embed="rId2"/>
              </a:buBlip>
              <a:defRPr sz="2400"/>
            </a:lvl2pPr>
            <a:lvl3pPr marL="1143000" indent="-228600">
              <a:buFontTx/>
              <a:buBlip>
                <a:blip r:embed="rId2"/>
              </a:buBlip>
              <a:defRPr/>
            </a:lvl3pPr>
            <a:lvl4pPr marL="1600200" indent="-228600">
              <a:buFontTx/>
              <a:buBlip>
                <a:blip r:embed="rId2"/>
              </a:buBlip>
              <a:defRPr/>
            </a:lvl4pPr>
            <a:lvl5pPr marL="2057400" indent="-228600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1"/>
          </p:nvPr>
        </p:nvSpPr>
        <p:spPr>
          <a:xfrm>
            <a:off x="4539443" y="1171074"/>
            <a:ext cx="4181475" cy="495667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2800"/>
            </a:lvl1pPr>
            <a:lvl2pPr marL="685800" indent="-228600">
              <a:buFontTx/>
              <a:buBlip>
                <a:blip r:embed="rId2"/>
              </a:buBlip>
              <a:defRPr sz="2400"/>
            </a:lvl2pPr>
            <a:lvl3pPr marL="1143000" indent="-228600">
              <a:buFontTx/>
              <a:buBlip>
                <a:blip r:embed="rId2"/>
              </a:buBlip>
              <a:defRPr/>
            </a:lvl3pPr>
            <a:lvl4pPr marL="1600200" indent="-228600">
              <a:buFontTx/>
              <a:buBlip>
                <a:blip r:embed="rId2"/>
              </a:buBlip>
              <a:defRPr/>
            </a:lvl4pPr>
            <a:lvl5pPr marL="2057400" indent="-228600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032966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685801"/>
            <a:ext cx="3009900" cy="1160463"/>
          </a:xfrm>
        </p:spPr>
        <p:txBody>
          <a:bodyPr anchor="b"/>
          <a:lstStyle>
            <a:lvl1pPr>
              <a:defRPr sz="1500" b="1"/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4998" y="685800"/>
            <a:ext cx="4725590" cy="548640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3888" y="1846264"/>
            <a:ext cx="3009900" cy="432593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5AFD61-736A-4051-9E6C-8E0A78119A45}" type="datetime1">
              <a:rPr lang="pl-PL" smtClean="0"/>
              <a:t>07.10.2016</a:t>
            </a:fld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C9EC6-0071-4BB6-A45E-7561F08E08C5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477532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8806" y="4800600"/>
            <a:ext cx="5382816" cy="566738"/>
          </a:xfrm>
        </p:spPr>
        <p:txBody>
          <a:bodyPr anchor="b"/>
          <a:lstStyle>
            <a:lvl1pPr>
              <a:defRPr sz="1500" b="1"/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78806" y="685801"/>
            <a:ext cx="5382816" cy="404177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pl-PL"/>
              <a:t>Kliknij ikonę, aby dodać obraz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78806" y="5367338"/>
            <a:ext cx="5382816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ECB7322-3C64-494C-9F5A-23C1F4406C9C}" type="datetime1">
              <a:rPr lang="pl-PL" smtClean="0"/>
              <a:t>07.10.2016</a:t>
            </a:fld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E0574-7F80-456B-A60A-7795DCB336C5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568089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43005A3-4811-4051-8188-F9FABFD07136}" type="datetime1">
              <a:rPr lang="pl-PL" smtClean="0"/>
              <a:t>07.10.2016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8F5B3-1C74-4C79-8752-D51D1B537EF6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448236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5897562"/>
          </a:xfrm>
        </p:spPr>
        <p:txBody>
          <a:bodyPr vert="eaVert"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800725" cy="5897562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FB53BC1-E552-4C45-A65A-94A45E8DB031}" type="datetime1">
              <a:rPr lang="pl-PL" smtClean="0"/>
              <a:t>07.10.2016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1EC3E4-4D3E-44F5-AEC4-2A3C1FC1ABC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77467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805" y="1223889"/>
            <a:ext cx="8393113" cy="4932362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>
              <a:buFontTx/>
              <a:buBlip>
                <a:blip r:embed="rId2"/>
              </a:buBlip>
              <a:defRPr sz="2800"/>
            </a:lvl1pPr>
            <a:lvl2pPr marL="685800" indent="-228600">
              <a:buFontTx/>
              <a:buBlip>
                <a:blip r:embed="rId2"/>
              </a:buBlip>
              <a:defRPr sz="2400"/>
            </a:lvl2pPr>
            <a:lvl3pPr marL="1143000" indent="-228600">
              <a:buFontTx/>
              <a:buBlip>
                <a:blip r:embed="rId2"/>
              </a:buBlip>
              <a:defRPr/>
            </a:lvl3pPr>
            <a:lvl4pPr marL="1600200" indent="-228600">
              <a:buFontTx/>
              <a:buBlip>
                <a:blip r:embed="rId2"/>
              </a:buBlip>
              <a:defRPr/>
            </a:lvl4pPr>
            <a:lvl5pPr marL="2057400" indent="-228600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  <a:p>
            <a:pPr lvl="0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028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7545" y="196821"/>
            <a:ext cx="8393373" cy="685801"/>
          </a:xfrm>
        </p:spPr>
        <p:txBody>
          <a:bodyPr/>
          <a:lstStyle>
            <a:lvl1pPr>
              <a:defRPr/>
            </a:lvl1pPr>
          </a:lstStyle>
          <a:p>
            <a:r>
              <a:rPr lang="pl-PL" dirty="0"/>
              <a:t>KLIKNIJ, ABY EDYTOWAĆ STYL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700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wartość i wyk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wykresu 3"/>
          <p:cNvSpPr>
            <a:spLocks noGrp="1"/>
          </p:cNvSpPr>
          <p:nvPr>
            <p:ph type="chart" sz="quarter" idx="10"/>
          </p:nvPr>
        </p:nvSpPr>
        <p:spPr>
          <a:xfrm>
            <a:off x="4406900" y="1295400"/>
            <a:ext cx="4314018" cy="455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Calibri" panose="020F050202020403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27545" y="196821"/>
            <a:ext cx="8393373" cy="685801"/>
          </a:xfrm>
        </p:spPr>
        <p:txBody>
          <a:bodyPr/>
          <a:lstStyle/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27545" y="1295400"/>
            <a:ext cx="3779838" cy="45593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2800"/>
            </a:lvl1pPr>
            <a:lvl2pPr marL="685800" indent="-228600">
              <a:buFontTx/>
              <a:buBlip>
                <a:blip r:embed="rId2"/>
              </a:buBlip>
              <a:defRPr sz="2400"/>
            </a:lvl2pPr>
            <a:lvl3pPr marL="1143000" indent="-228600">
              <a:buFontTx/>
              <a:buBlip>
                <a:blip r:embed="rId2"/>
              </a:buBlip>
              <a:defRPr/>
            </a:lvl3pPr>
            <a:lvl4pPr marL="1600200" indent="-228600">
              <a:buFontTx/>
              <a:buBlip>
                <a:blip r:embed="rId2"/>
              </a:buBlip>
              <a:defRPr/>
            </a:lvl4pPr>
            <a:lvl5pPr marL="2057400" indent="-228600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242266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a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tabeli 3"/>
          <p:cNvSpPr>
            <a:spLocks noGrp="1"/>
          </p:cNvSpPr>
          <p:nvPr>
            <p:ph type="tbl" sz="quarter" idx="10"/>
          </p:nvPr>
        </p:nvSpPr>
        <p:spPr>
          <a:xfrm>
            <a:off x="327545" y="1270364"/>
            <a:ext cx="8392593" cy="259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Calibri" panose="020F050202020403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27545" y="196821"/>
            <a:ext cx="8393373" cy="685801"/>
          </a:xfrm>
        </p:spPr>
        <p:txBody>
          <a:bodyPr/>
          <a:lstStyle/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27545" y="4154488"/>
            <a:ext cx="8392593" cy="184460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2800"/>
            </a:lvl1pPr>
            <a:lvl2pPr marL="685800" indent="-228600">
              <a:buFontTx/>
              <a:buBlip>
                <a:blip r:embed="rId2"/>
              </a:buBlip>
              <a:defRPr sz="2400"/>
            </a:lvl2pPr>
            <a:lvl3pPr marL="1143000" indent="-228600">
              <a:buFontTx/>
              <a:buBlip>
                <a:blip r:embed="rId2"/>
              </a:buBlip>
              <a:defRPr/>
            </a:lvl3pPr>
            <a:lvl4pPr marL="1600200" indent="-228600">
              <a:buFontTx/>
              <a:buBlip>
                <a:blip r:embed="rId2"/>
              </a:buBlip>
              <a:defRPr/>
            </a:lvl4pPr>
            <a:lvl5pPr marL="2057400" indent="-228600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764745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ykres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wykresu 11"/>
          <p:cNvSpPr>
            <a:spLocks noGrp="1"/>
          </p:cNvSpPr>
          <p:nvPr>
            <p:ph type="chart" sz="quarter" idx="10" hasCustomPrompt="1"/>
          </p:nvPr>
        </p:nvSpPr>
        <p:spPr>
          <a:xfrm>
            <a:off x="327545" y="1231470"/>
            <a:ext cx="8392593" cy="2579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Calibri" panose="020F0502020204030204" pitchFamily="34" charset="0"/>
              </a:defRPr>
            </a:lvl1pPr>
          </a:lstStyle>
          <a:p>
            <a:r>
              <a:rPr lang="pl-PL" dirty="0"/>
              <a:t>Teks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27545" y="196821"/>
            <a:ext cx="8393373" cy="685801"/>
          </a:xfrm>
        </p:spPr>
        <p:txBody>
          <a:bodyPr/>
          <a:lstStyle/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1"/>
          </p:nvPr>
        </p:nvSpPr>
        <p:spPr>
          <a:xfrm>
            <a:off x="327545" y="4154488"/>
            <a:ext cx="8392593" cy="197326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2800"/>
            </a:lvl1pPr>
            <a:lvl2pPr marL="685800" indent="-228600">
              <a:buFontTx/>
              <a:buBlip>
                <a:blip r:embed="rId2"/>
              </a:buBlip>
              <a:defRPr sz="2400"/>
            </a:lvl2pPr>
            <a:lvl3pPr marL="1143000" indent="-228600">
              <a:buFontTx/>
              <a:buBlip>
                <a:blip r:embed="rId2"/>
              </a:buBlip>
              <a:defRPr/>
            </a:lvl3pPr>
            <a:lvl4pPr marL="1600200" indent="-228600">
              <a:buFontTx/>
              <a:buBlip>
                <a:blip r:embed="rId2"/>
              </a:buBlip>
              <a:defRPr/>
            </a:lvl4pPr>
            <a:lvl5pPr marL="2057400" indent="-228600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76633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e, białe tł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/>
          <p:cNvSpPr/>
          <p:nvPr userDrawn="1"/>
        </p:nvSpPr>
        <p:spPr>
          <a:xfrm>
            <a:off x="0" y="0"/>
            <a:ext cx="45719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" name="Prostokąt 3"/>
          <p:cNvSpPr/>
          <p:nvPr userDrawn="1"/>
        </p:nvSpPr>
        <p:spPr>
          <a:xfrm>
            <a:off x="0" y="1475"/>
            <a:ext cx="9144000" cy="17830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8932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ałe tł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54846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1052623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7545" y="299656"/>
            <a:ext cx="8393373" cy="4801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8" name="Prostokąt 7"/>
          <p:cNvSpPr/>
          <p:nvPr userDrawn="1"/>
        </p:nvSpPr>
        <p:spPr>
          <a:xfrm>
            <a:off x="0" y="6427063"/>
            <a:ext cx="9144000" cy="430937"/>
          </a:xfrm>
          <a:prstGeom prst="rect">
            <a:avLst/>
          </a:prstGeom>
          <a:solidFill>
            <a:srgbClr val="1C5A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9" name="Obraz 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20" y="6435021"/>
            <a:ext cx="1357568" cy="408005"/>
          </a:xfrm>
          <a:prstGeom prst="rect">
            <a:avLst/>
          </a:prstGeom>
        </p:spPr>
      </p:pic>
      <p:sp>
        <p:nvSpPr>
          <p:cNvPr id="10" name="pole tekstowe 9"/>
          <p:cNvSpPr txBox="1"/>
          <p:nvPr userDrawn="1"/>
        </p:nvSpPr>
        <p:spPr>
          <a:xfrm>
            <a:off x="6833287" y="6454357"/>
            <a:ext cx="1962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l-PL" baseline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euvic.pl</a:t>
            </a:r>
            <a:endParaRPr lang="pl-PL" baseline="0" dirty="0">
              <a:solidFill>
                <a:schemeClr val="bg1"/>
              </a:solidFill>
            </a:endParaRPr>
          </a:p>
        </p:txBody>
      </p:sp>
      <p:sp>
        <p:nvSpPr>
          <p:cNvPr id="11" name="Content Placeholder 6"/>
          <p:cNvSpPr txBox="1">
            <a:spLocks/>
          </p:cNvSpPr>
          <p:nvPr userDrawn="1"/>
        </p:nvSpPr>
        <p:spPr>
          <a:xfrm>
            <a:off x="327545" y="1266825"/>
            <a:ext cx="8393373" cy="471646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Tx/>
              <a:buBlip>
                <a:blip r:embed="rId15"/>
              </a:buBlip>
              <a:defRPr sz="2800" kern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90000"/>
              <a:buFontTx/>
              <a:buBlip>
                <a:blip r:embed="rId15"/>
              </a:buBlip>
              <a:defRPr sz="2400" kern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5"/>
              </a:buBlip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5"/>
              </a:buBlip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71029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6" r:id="rId3"/>
    <p:sldLayoutId id="2147483667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</p:sldLayoutIdLst>
  <p:txStyles>
    <p:titleStyle>
      <a:lvl1pPr marL="180000" indent="-180000" algn="l" defTabSz="914400" rtl="0" eaLnBrk="1" latinLnBrk="0" hangingPunct="1">
        <a:lnSpc>
          <a:spcPct val="90000"/>
        </a:lnSpc>
        <a:spcBef>
          <a:spcPct val="0"/>
        </a:spcBef>
        <a:buFontTx/>
        <a:buBlip>
          <a:blip r:embed="rId16"/>
        </a:buBlip>
        <a:defRPr sz="2800" b="1" i="0" kern="1200" cap="all" baseline="0">
          <a:solidFill>
            <a:schemeClr val="bg2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SzPct val="90000"/>
        <a:buFontTx/>
        <a:buBlip>
          <a:blip r:embed="rId17"/>
        </a:buBlip>
        <a:defRPr sz="1400" kern="1200" baseline="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SzPct val="90000"/>
        <a:buFontTx/>
        <a:buBlip>
          <a:blip r:embed="rId17"/>
        </a:buBlip>
        <a:defRPr sz="1200" kern="1200" baseline="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0863"/>
            <a:ext cx="78867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4574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277711CE-B8B0-42D7-80A9-72227BA4156A}" type="datetime1">
              <a:rPr lang="pl-PL" smtClean="0"/>
              <a:t>07.10.2016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86150" y="6356351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57900" y="6356351"/>
            <a:ext cx="24574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80FB11-AE89-463C-9CAE-E851D2507686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74645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0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msdn.microsoft.com/en-us/library/ms189496.aspx" TargetMode="Externa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4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3.xml"/><Relationship Id="rId7" Type="http://schemas.openxmlformats.org/officeDocument/2006/relationships/image" Target="../media/image4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://sqlblog.com/blogs/damian_widera/default.aspx" TargetMode="External"/><Relationship Id="rId5" Type="http://schemas.openxmlformats.org/officeDocument/2006/relationships/hyperlink" Target="mailto:damian.widera@euvic.pl" TargetMode="External"/><Relationship Id="rId4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emf"/><Relationship Id="rId7" Type="http://schemas.openxmlformats.org/officeDocument/2006/relationships/image" Target="../media/image16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emf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emf"/><Relationship Id="rId17" Type="http://schemas.openxmlformats.org/officeDocument/2006/relationships/image" Target="../media/image35.emf"/><Relationship Id="rId2" Type="http://schemas.openxmlformats.org/officeDocument/2006/relationships/image" Target="../media/image20.png"/><Relationship Id="rId16" Type="http://schemas.openxmlformats.org/officeDocument/2006/relationships/image" Target="../media/image34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11" Type="http://schemas.openxmlformats.org/officeDocument/2006/relationships/image" Target="../media/image29.wmf"/><Relationship Id="rId5" Type="http://schemas.openxmlformats.org/officeDocument/2006/relationships/image" Target="../media/image23.png"/><Relationship Id="rId15" Type="http://schemas.openxmlformats.org/officeDocument/2006/relationships/image" Target="../media/image33.emf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D5A7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891" y="1403229"/>
            <a:ext cx="5498497" cy="407666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6605" y="3137526"/>
            <a:ext cx="1561592" cy="30403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678278" y="3526972"/>
            <a:ext cx="239687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l-PL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pl-PL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pl-PL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atowice, 0</a:t>
            </a:r>
            <a:r>
              <a:rPr lang="en-US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.</a:t>
            </a:r>
            <a:r>
              <a:rPr lang="pl-PL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.2016</a:t>
            </a:r>
            <a:endParaRPr lang="pl-PL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pl-PL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651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423854"/>
            <a:ext cx="8686800" cy="5211763"/>
          </a:xfrm>
        </p:spPr>
        <p:txBody>
          <a:bodyPr/>
          <a:lstStyle/>
          <a:p>
            <a:pPr marL="428625" indent="-428625">
              <a:spcBef>
                <a:spcPts val="900"/>
              </a:spcBef>
            </a:pPr>
            <a:r>
              <a:rPr lang="en-US" altLang="en-US" sz="2800" dirty="0"/>
              <a:t>All SQL Server versions &amp; editions </a:t>
            </a:r>
          </a:p>
          <a:p>
            <a:pPr marL="428625" indent="-428625">
              <a:spcBef>
                <a:spcPts val="900"/>
              </a:spcBef>
            </a:pPr>
            <a:r>
              <a:rPr lang="en-US" altLang="en-US" sz="2800" dirty="0"/>
              <a:t>Could be easy to implement</a:t>
            </a:r>
            <a:endParaRPr lang="pl-PL" altLang="en-US" sz="2800" dirty="0"/>
          </a:p>
          <a:p>
            <a:pPr marL="428625" indent="-428625">
              <a:spcBef>
                <a:spcPts val="900"/>
              </a:spcBef>
            </a:pPr>
            <a:r>
              <a:rPr lang="en-US" altLang="en-US" sz="2800" dirty="0"/>
              <a:t>Changing the source table structure possibly require the change in the procedure</a:t>
            </a:r>
            <a:endParaRPr lang="pl-PL" altLang="en-US" sz="2800" dirty="0"/>
          </a:p>
          <a:p>
            <a:pPr marL="428625" indent="-428625">
              <a:spcBef>
                <a:spcPts val="900"/>
              </a:spcBef>
            </a:pPr>
            <a:r>
              <a:rPr lang="en-US" altLang="en-US" sz="2800" dirty="0"/>
              <a:t>Called from the applications</a:t>
            </a:r>
          </a:p>
          <a:p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ed procedures	</a:t>
            </a:r>
          </a:p>
        </p:txBody>
      </p:sp>
    </p:spTree>
    <p:extLst>
      <p:ext uri="{BB962C8B-B14F-4D97-AF65-F5344CB8AC3E}">
        <p14:creationId xmlns:p14="http://schemas.microsoft.com/office/powerpoint/2010/main" val="159291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05979" y="1364334"/>
            <a:ext cx="8686800" cy="5211763"/>
          </a:xfrm>
        </p:spPr>
        <p:txBody>
          <a:bodyPr/>
          <a:lstStyle/>
          <a:p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Tracks changes on DML operations like INSERT, UPDATE and DELET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tracking	</a:t>
            </a:r>
          </a:p>
        </p:txBody>
      </p:sp>
      <p:sp>
        <p:nvSpPr>
          <p:cNvPr id="4" name="Text Placeholder 6"/>
          <p:cNvSpPr txBox="1">
            <a:spLocks/>
          </p:cNvSpPr>
          <p:nvPr/>
        </p:nvSpPr>
        <p:spPr>
          <a:xfrm>
            <a:off x="205979" y="2292065"/>
            <a:ext cx="8915400" cy="335630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rgbClr val="333333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rgbClr val="333333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rgbClr val="333333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rgbClr val="333333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rgbClr val="333333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28625" indent="-428625"/>
            <a:r>
              <a:rPr lang="en-US" sz="2700" dirty="0" smtClean="0"/>
              <a:t>Only </a:t>
            </a:r>
            <a:r>
              <a:rPr lang="en-US" sz="2700" dirty="0"/>
              <a:t>last version of data </a:t>
            </a:r>
            <a:endParaRPr lang="pl-PL" sz="2700" dirty="0"/>
          </a:p>
          <a:p>
            <a:pPr marL="428625" lvl="1" indent="-428625">
              <a:buFont typeface="Arial" pitchFamily="34" charset="0"/>
              <a:buChar char="•"/>
            </a:pPr>
            <a:r>
              <a:rPr lang="en-US" sz="1800" dirty="0"/>
              <a:t>No historical changes</a:t>
            </a:r>
            <a:endParaRPr lang="pl-PL" sz="1800" dirty="0"/>
          </a:p>
          <a:p>
            <a:pPr marL="428625" lvl="1" indent="-428625">
              <a:buFont typeface="Arial" pitchFamily="34" charset="0"/>
              <a:buChar char="•"/>
            </a:pPr>
            <a:r>
              <a:rPr lang="en-US" sz="1800" dirty="0"/>
              <a:t>How many times a record has changed?</a:t>
            </a:r>
            <a:endParaRPr lang="pl-PL" sz="1800" dirty="0"/>
          </a:p>
          <a:p>
            <a:pPr marL="428625" indent="-428625"/>
            <a:r>
              <a:rPr lang="en-US" sz="2700" dirty="0"/>
              <a:t>A table can have only one CT related</a:t>
            </a:r>
          </a:p>
          <a:p>
            <a:pPr marL="0" indent="0">
              <a:buNone/>
            </a:pPr>
            <a:r>
              <a:rPr lang="en-US" sz="2700" dirty="0"/>
              <a:t>table </a:t>
            </a:r>
            <a:endParaRPr lang="pl-PL" sz="2700" dirty="0"/>
          </a:p>
          <a:p>
            <a:pPr marL="428625" lvl="1" indent="-428625">
              <a:buFont typeface="Arial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13836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646237"/>
            <a:ext cx="8686800" cy="5211763"/>
          </a:xfrm>
        </p:spPr>
        <p:txBody>
          <a:bodyPr/>
          <a:lstStyle/>
          <a:p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Tracks changes on DML operations like INSERT, UPDATE and DELETE</a:t>
            </a:r>
          </a:p>
          <a:p>
            <a:pPr marL="428625" indent="-428625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All changes are stored</a:t>
            </a: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pPr marL="428625" lvl="1" indent="-428625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Full changes history</a:t>
            </a: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pPr marL="428625" lvl="1" indent="-428625">
              <a:buFont typeface="Arial" panose="020B0604020202020204" pitchFamily="34" charset="0"/>
              <a:buChar char="•"/>
            </a:pP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pPr marL="428625" indent="-428625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A table can have up to two CDC related tables</a:t>
            </a: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28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Data Capture	</a:t>
            </a:r>
          </a:p>
        </p:txBody>
      </p:sp>
    </p:spTree>
    <p:extLst>
      <p:ext uri="{BB962C8B-B14F-4D97-AF65-F5344CB8AC3E}">
        <p14:creationId xmlns:p14="http://schemas.microsoft.com/office/powerpoint/2010/main" val="4255279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QL Server 2016 </a:t>
            </a:r>
            <a:endParaRPr lang="pl-PL" dirty="0"/>
          </a:p>
        </p:txBody>
      </p:sp>
      <p:grpSp>
        <p:nvGrpSpPr>
          <p:cNvPr id="4" name="Group 3"/>
          <p:cNvGrpSpPr/>
          <p:nvPr/>
        </p:nvGrpSpPr>
        <p:grpSpPr>
          <a:xfrm>
            <a:off x="307562" y="4860720"/>
            <a:ext cx="8762438" cy="34636"/>
            <a:chOff x="420782" y="5350771"/>
            <a:chExt cx="11683251" cy="46181"/>
          </a:xfrm>
        </p:grpSpPr>
        <p:sp>
          <p:nvSpPr>
            <p:cNvPr id="5" name="Rectangle 4"/>
            <p:cNvSpPr/>
            <p:nvPr/>
          </p:nvSpPr>
          <p:spPr bwMode="auto">
            <a:xfrm>
              <a:off x="420782" y="5350771"/>
              <a:ext cx="3822192" cy="46181"/>
            </a:xfrm>
            <a:prstGeom prst="rect">
              <a:avLst/>
            </a:pr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57175" indent="-257175"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</a:pPr>
              <a:endParaRPr lang="en-US" sz="1500" b="1" dirty="0" err="1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4355065" y="5350771"/>
              <a:ext cx="3813048" cy="46181"/>
            </a:xfrm>
            <a:prstGeom prst="rect">
              <a:avLst/>
            </a:pr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57175" indent="-257175"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</a:pPr>
              <a:endParaRPr lang="en-US" sz="1500" b="1" dirty="0" err="1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8290985" y="5350771"/>
              <a:ext cx="3813048" cy="46181"/>
            </a:xfrm>
            <a:prstGeom prst="rect">
              <a:avLst/>
            </a:pr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57175" indent="-257175"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</a:pPr>
              <a:endParaRPr lang="en-US" sz="1500" b="1" dirty="0" err="1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6207757" y="2009538"/>
            <a:ext cx="2862243" cy="2862243"/>
          </a:xfrm>
          <a:prstGeom prst="rect">
            <a:avLst/>
          </a:prstGeom>
          <a:solidFill>
            <a:schemeClr val="accent1"/>
          </a:solidFill>
        </p:spPr>
        <p:txBody>
          <a:bodyPr wrap="square" lIns="137160" tIns="109728" rIns="137160" bIns="109728" rtlCol="0">
            <a:noAutofit/>
          </a:bodyPr>
          <a:lstStyle/>
          <a:p>
            <a:pPr defTabSz="699516">
              <a:lnSpc>
                <a:spcPct val="90000"/>
              </a:lnSpc>
            </a:pPr>
            <a:r>
              <a:rPr lang="en-US" sz="3000" spc="-23" dirty="0">
                <a:solidFill>
                  <a:schemeClr val="bg1"/>
                </a:solidFill>
                <a:latin typeface="Segoe UI Light"/>
              </a:rPr>
              <a:t>Hyperscale clou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06333" y="2009539"/>
            <a:ext cx="2862243" cy="2862243"/>
          </a:xfrm>
          <a:prstGeom prst="rect">
            <a:avLst/>
          </a:prstGeom>
          <a:solidFill>
            <a:srgbClr val="C00000"/>
          </a:solidFill>
        </p:spPr>
        <p:txBody>
          <a:bodyPr wrap="square" lIns="137160" tIns="109728" rIns="137160" bIns="109728" rtlCol="0">
            <a:noAutofit/>
          </a:bodyPr>
          <a:lstStyle>
            <a:defPPr>
              <a:defRPr lang="en-US"/>
            </a:defPPr>
            <a:lvl1pPr defTabSz="932688">
              <a:lnSpc>
                <a:spcPct val="90000"/>
              </a:lnSpc>
              <a:defRPr sz="4000" spc="-30">
                <a:gradFill>
                  <a:gsLst>
                    <a:gs pos="77483">
                      <a:srgbClr val="FFFFFF"/>
                    </a:gs>
                    <a:gs pos="62252">
                      <a:srgbClr val="FFFFFF"/>
                    </a:gs>
                  </a:gsLst>
                  <a:lin ang="5400000" scaled="0"/>
                </a:gradFill>
                <a:latin typeface="Segoe UI Light"/>
              </a:defRPr>
            </a:lvl1pPr>
          </a:lstStyle>
          <a:p>
            <a:pPr defTabSz="699100" fontAlgn="base">
              <a:spcBef>
                <a:spcPct val="0"/>
              </a:spcBef>
              <a:spcAft>
                <a:spcPct val="0"/>
              </a:spcAft>
            </a:pPr>
            <a:r>
              <a:rPr lang="en-US" sz="30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10000"/>
                  </a:schemeClr>
                </a:solidFill>
                <a:ea typeface="Segoe UI" pitchFamily="34" charset="0"/>
                <a:cs typeface="Segoe UI" pitchFamily="34" charset="0"/>
              </a:rPr>
              <a:t>Mission-critical performanc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103520" y="3167031"/>
            <a:ext cx="1267870" cy="1267870"/>
            <a:chOff x="1428494" y="3983494"/>
            <a:chExt cx="1414462" cy="1414463"/>
          </a:xfrm>
        </p:grpSpPr>
        <p:sp>
          <p:nvSpPr>
            <p:cNvPr id="11" name="Donut 10"/>
            <p:cNvSpPr/>
            <p:nvPr/>
          </p:nvSpPr>
          <p:spPr bwMode="auto">
            <a:xfrm>
              <a:off x="1428494" y="3983494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chemeClr val="bg1">
                <a:lumMod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57175" indent="-257175"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</a:pPr>
              <a:endParaRPr lang="en-IN" sz="1500" b="1" dirty="0" err="1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621657" y="4173291"/>
              <a:ext cx="1006705" cy="796614"/>
              <a:chOff x="1621657" y="4173291"/>
              <a:chExt cx="1006705" cy="796614"/>
            </a:xfrm>
          </p:grpSpPr>
          <p:sp>
            <p:nvSpPr>
              <p:cNvPr id="14" name="Freeform 5"/>
              <p:cNvSpPr>
                <a:spLocks/>
              </p:cNvSpPr>
              <p:nvPr/>
            </p:nvSpPr>
            <p:spPr bwMode="auto">
              <a:xfrm rot="18900000">
                <a:off x="1864473" y="4183165"/>
                <a:ext cx="300038" cy="280988"/>
              </a:xfrm>
              <a:custGeom>
                <a:avLst/>
                <a:gdLst>
                  <a:gd name="T0" fmla="*/ 53 w 53"/>
                  <a:gd name="T1" fmla="*/ 22 h 49"/>
                  <a:gd name="T2" fmla="*/ 2 w 53"/>
                  <a:gd name="T3" fmla="*/ 0 h 49"/>
                  <a:gd name="T4" fmla="*/ 0 w 53"/>
                  <a:gd name="T5" fmla="*/ 37 h 49"/>
                  <a:gd name="T6" fmla="*/ 28 w 53"/>
                  <a:gd name="T7" fmla="*/ 49 h 49"/>
                  <a:gd name="T8" fmla="*/ 53 w 53"/>
                  <a:gd name="T9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9">
                    <a:moveTo>
                      <a:pt x="53" y="22"/>
                    </a:moveTo>
                    <a:cubicBezTo>
                      <a:pt x="39" y="9"/>
                      <a:pt x="21" y="2"/>
                      <a:pt x="2" y="0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0" y="38"/>
                      <a:pt x="20" y="42"/>
                      <a:pt x="28" y="49"/>
                    </a:cubicBezTo>
                    <a:lnTo>
                      <a:pt x="53" y="22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/>
              </a:p>
            </p:txBody>
          </p:sp>
          <p:sp>
            <p:nvSpPr>
              <p:cNvPr id="15" name="Freeform 6"/>
              <p:cNvSpPr>
                <a:spLocks/>
              </p:cNvSpPr>
              <p:nvPr/>
            </p:nvSpPr>
            <p:spPr bwMode="auto">
              <a:xfrm rot="18900000">
                <a:off x="2124042" y="4173291"/>
                <a:ext cx="280988" cy="302420"/>
              </a:xfrm>
              <a:custGeom>
                <a:avLst/>
                <a:gdLst>
                  <a:gd name="T0" fmla="*/ 12 w 49"/>
                  <a:gd name="T1" fmla="*/ 53 h 53"/>
                  <a:gd name="T2" fmla="*/ 49 w 49"/>
                  <a:gd name="T3" fmla="*/ 51 h 53"/>
                  <a:gd name="T4" fmla="*/ 27 w 49"/>
                  <a:gd name="T5" fmla="*/ 0 h 53"/>
                  <a:gd name="T6" fmla="*/ 0 w 49"/>
                  <a:gd name="T7" fmla="*/ 24 h 53"/>
                  <a:gd name="T8" fmla="*/ 12 w 49"/>
                  <a:gd name="T9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53">
                    <a:moveTo>
                      <a:pt x="12" y="53"/>
                    </a:moveTo>
                    <a:cubicBezTo>
                      <a:pt x="49" y="51"/>
                      <a:pt x="49" y="51"/>
                      <a:pt x="49" y="51"/>
                    </a:cubicBezTo>
                    <a:cubicBezTo>
                      <a:pt x="47" y="32"/>
                      <a:pt x="40" y="14"/>
                      <a:pt x="27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7" y="32"/>
                      <a:pt x="11" y="43"/>
                      <a:pt x="12" y="53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/>
              </a:p>
            </p:txBody>
          </p:sp>
          <p:grpSp>
            <p:nvGrpSpPr>
              <p:cNvPr id="16" name="Group 15"/>
              <p:cNvGrpSpPr/>
              <p:nvPr/>
            </p:nvGrpSpPr>
            <p:grpSpPr>
              <a:xfrm>
                <a:off x="1621657" y="4397457"/>
                <a:ext cx="1006705" cy="572448"/>
                <a:chOff x="1621657" y="4397457"/>
                <a:chExt cx="1006705" cy="572448"/>
              </a:xfrm>
            </p:grpSpPr>
            <p:sp>
              <p:nvSpPr>
                <p:cNvPr id="17" name="Freeform 7"/>
                <p:cNvSpPr>
                  <a:spLocks/>
                </p:cNvSpPr>
                <p:nvPr/>
              </p:nvSpPr>
              <p:spPr bwMode="auto">
                <a:xfrm rot="18900000">
                  <a:off x="1621657" y="4424790"/>
                  <a:ext cx="302420" cy="280988"/>
                </a:xfrm>
                <a:custGeom>
                  <a:avLst/>
                  <a:gdLst>
                    <a:gd name="T0" fmla="*/ 53 w 53"/>
                    <a:gd name="T1" fmla="*/ 37 h 49"/>
                    <a:gd name="T2" fmla="*/ 51 w 53"/>
                    <a:gd name="T3" fmla="*/ 0 h 49"/>
                    <a:gd name="T4" fmla="*/ 0 w 53"/>
                    <a:gd name="T5" fmla="*/ 21 h 49"/>
                    <a:gd name="T6" fmla="*/ 24 w 53"/>
                    <a:gd name="T7" fmla="*/ 49 h 49"/>
                    <a:gd name="T8" fmla="*/ 53 w 53"/>
                    <a:gd name="T9" fmla="*/ 37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49">
                      <a:moveTo>
                        <a:pt x="53" y="37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32" y="1"/>
                        <a:pt x="14" y="9"/>
                        <a:pt x="0" y="21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32" y="42"/>
                        <a:pt x="43" y="38"/>
                        <a:pt x="53" y="37"/>
                      </a:cubicBezTo>
                      <a:close/>
                    </a:path>
                  </a:pathLst>
                </a:cu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8" name="Freeform 8"/>
                <p:cNvSpPr>
                  <a:spLocks/>
                </p:cNvSpPr>
                <p:nvPr/>
              </p:nvSpPr>
              <p:spPr bwMode="auto">
                <a:xfrm rot="18900000">
                  <a:off x="1637773" y="4667485"/>
                  <a:ext cx="278607" cy="302420"/>
                </a:xfrm>
                <a:custGeom>
                  <a:avLst/>
                  <a:gdLst>
                    <a:gd name="T0" fmla="*/ 48 w 49"/>
                    <a:gd name="T1" fmla="*/ 23 h 53"/>
                    <a:gd name="T2" fmla="*/ 21 w 49"/>
                    <a:gd name="T3" fmla="*/ 0 h 53"/>
                    <a:gd name="T4" fmla="*/ 0 w 49"/>
                    <a:gd name="T5" fmla="*/ 51 h 53"/>
                    <a:gd name="T6" fmla="*/ 37 w 49"/>
                    <a:gd name="T7" fmla="*/ 53 h 53"/>
                    <a:gd name="T8" fmla="*/ 49 w 49"/>
                    <a:gd name="T9" fmla="*/ 24 h 53"/>
                    <a:gd name="T10" fmla="*/ 48 w 49"/>
                    <a:gd name="T11" fmla="*/ 2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9" h="53">
                      <a:moveTo>
                        <a:pt x="48" y="23"/>
                      </a:move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8" y="14"/>
                        <a:pt x="1" y="32"/>
                        <a:pt x="0" y="51"/>
                      </a:cubicBezTo>
                      <a:cubicBezTo>
                        <a:pt x="37" y="53"/>
                        <a:pt x="37" y="53"/>
                        <a:pt x="37" y="53"/>
                      </a:cubicBezTo>
                      <a:cubicBezTo>
                        <a:pt x="38" y="42"/>
                        <a:pt x="42" y="32"/>
                        <a:pt x="49" y="24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9" name="Freeform 18"/>
                <p:cNvSpPr>
                  <a:spLocks/>
                </p:cNvSpPr>
                <p:nvPr/>
              </p:nvSpPr>
              <p:spPr bwMode="auto">
                <a:xfrm rot="18900000">
                  <a:off x="2155256" y="4397457"/>
                  <a:ext cx="473106" cy="380327"/>
                </a:xfrm>
                <a:custGeom>
                  <a:avLst/>
                  <a:gdLst>
                    <a:gd name="connsiteX0" fmla="*/ 42335 w 473106"/>
                    <a:gd name="connsiteY0" fmla="*/ 21859 h 380327"/>
                    <a:gd name="connsiteX1" fmla="*/ 61057 w 473106"/>
                    <a:gd name="connsiteY1" fmla="*/ 49049 h 380327"/>
                    <a:gd name="connsiteX2" fmla="*/ 64322 w 473106"/>
                    <a:gd name="connsiteY2" fmla="*/ 64322 h 380327"/>
                    <a:gd name="connsiteX3" fmla="*/ 0 w 473106"/>
                    <a:gd name="connsiteY3" fmla="*/ 0 h 380327"/>
                    <a:gd name="connsiteX4" fmla="*/ 15056 w 473106"/>
                    <a:gd name="connsiteY4" fmla="*/ 3198 h 380327"/>
                    <a:gd name="connsiteX5" fmla="*/ 42335 w 473106"/>
                    <a:gd name="connsiteY5" fmla="*/ 21859 h 380327"/>
                    <a:gd name="connsiteX6" fmla="*/ 473106 w 473106"/>
                    <a:gd name="connsiteY6" fmla="*/ 104320 h 380327"/>
                    <a:gd name="connsiteX7" fmla="*/ 376111 w 473106"/>
                    <a:gd name="connsiteY7" fmla="*/ 371609 h 380327"/>
                    <a:gd name="connsiteX8" fmla="*/ 380327 w 473106"/>
                    <a:gd name="connsiteY8" fmla="*/ 380327 h 380327"/>
                    <a:gd name="connsiteX9" fmla="*/ 222557 w 473106"/>
                    <a:gd name="connsiteY9" fmla="*/ 222557 h 380327"/>
                    <a:gd name="connsiteX10" fmla="*/ 248449 w 473106"/>
                    <a:gd name="connsiteY10" fmla="*/ 160479 h 380327"/>
                    <a:gd name="connsiteX11" fmla="*/ 262000 w 473106"/>
                    <a:gd name="connsiteY11" fmla="*/ 92946 h 380327"/>
                    <a:gd name="connsiteX12" fmla="*/ 473106 w 473106"/>
                    <a:gd name="connsiteY12" fmla="*/ 104320 h 380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73106" h="380327">
                      <a:moveTo>
                        <a:pt x="42335" y="21859"/>
                      </a:moveTo>
                      <a:cubicBezTo>
                        <a:pt x="50181" y="29678"/>
                        <a:pt x="56599" y="38919"/>
                        <a:pt x="61057" y="49049"/>
                      </a:cubicBezTo>
                      <a:lnTo>
                        <a:pt x="64322" y="64322"/>
                      </a:lnTo>
                      <a:lnTo>
                        <a:pt x="0" y="0"/>
                      </a:lnTo>
                      <a:lnTo>
                        <a:pt x="15056" y="3198"/>
                      </a:lnTo>
                      <a:cubicBezTo>
                        <a:pt x="25218" y="7641"/>
                        <a:pt x="34490" y="14039"/>
                        <a:pt x="42335" y="21859"/>
                      </a:cubicBezTo>
                      <a:close/>
                      <a:moveTo>
                        <a:pt x="473106" y="104320"/>
                      </a:moveTo>
                      <a:cubicBezTo>
                        <a:pt x="467401" y="200999"/>
                        <a:pt x="433167" y="297678"/>
                        <a:pt x="376111" y="371609"/>
                      </a:cubicBezTo>
                      <a:lnTo>
                        <a:pt x="380327" y="380327"/>
                      </a:lnTo>
                      <a:lnTo>
                        <a:pt x="222557" y="222557"/>
                      </a:lnTo>
                      <a:lnTo>
                        <a:pt x="248449" y="160479"/>
                      </a:lnTo>
                      <a:cubicBezTo>
                        <a:pt x="254868" y="138442"/>
                        <a:pt x="259147" y="115694"/>
                        <a:pt x="262000" y="92946"/>
                      </a:cubicBezTo>
                      <a:cubicBezTo>
                        <a:pt x="262000" y="92946"/>
                        <a:pt x="262000" y="92946"/>
                        <a:pt x="473106" y="104320"/>
                      </a:cubicBezTo>
                      <a:close/>
                    </a:path>
                  </a:pathLst>
                </a:custGeom>
                <a:solidFill>
                  <a:srgbClr val="0088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20" name="Freeform 19"/>
                <p:cNvSpPr>
                  <a:spLocks/>
                </p:cNvSpPr>
                <p:nvPr/>
              </p:nvSpPr>
              <p:spPr bwMode="auto">
                <a:xfrm rot="19008074">
                  <a:off x="2111413" y="4447007"/>
                  <a:ext cx="491469" cy="477708"/>
                </a:xfrm>
                <a:custGeom>
                  <a:avLst/>
                  <a:gdLst>
                    <a:gd name="connsiteX0" fmla="*/ 145492 w 491469"/>
                    <a:gd name="connsiteY0" fmla="*/ 25592 h 477708"/>
                    <a:gd name="connsiteX1" fmla="*/ 171167 w 491469"/>
                    <a:gd name="connsiteY1" fmla="*/ 85305 h 477708"/>
                    <a:gd name="connsiteX2" fmla="*/ 325218 w 491469"/>
                    <a:gd name="connsiteY2" fmla="*/ 227480 h 477708"/>
                    <a:gd name="connsiteX3" fmla="*/ 325539 w 491469"/>
                    <a:gd name="connsiteY3" fmla="*/ 226709 h 477708"/>
                    <a:gd name="connsiteX4" fmla="*/ 484040 w 491469"/>
                    <a:gd name="connsiteY4" fmla="*/ 385210 h 477708"/>
                    <a:gd name="connsiteX5" fmla="*/ 488807 w 491469"/>
                    <a:gd name="connsiteY5" fmla="*/ 395069 h 477708"/>
                    <a:gd name="connsiteX6" fmla="*/ 473563 w 491469"/>
                    <a:gd name="connsiteY6" fmla="*/ 460647 h 477708"/>
                    <a:gd name="connsiteX7" fmla="*/ 387979 w 491469"/>
                    <a:gd name="connsiteY7" fmla="*/ 460647 h 477708"/>
                    <a:gd name="connsiteX8" fmla="*/ 85584 w 491469"/>
                    <a:gd name="connsiteY8" fmla="*/ 170610 h 477708"/>
                    <a:gd name="connsiteX9" fmla="*/ 0 w 491469"/>
                    <a:gd name="connsiteY9" fmla="*/ 85305 h 477708"/>
                    <a:gd name="connsiteX10" fmla="*/ 85584 w 491469"/>
                    <a:gd name="connsiteY10" fmla="*/ 0 h 477708"/>
                    <a:gd name="connsiteX11" fmla="*/ 145492 w 491469"/>
                    <a:gd name="connsiteY11" fmla="*/ 25592 h 477708"/>
                    <a:gd name="connsiteX0" fmla="*/ 145492 w 491469"/>
                    <a:gd name="connsiteY0" fmla="*/ 25592 h 477708"/>
                    <a:gd name="connsiteX1" fmla="*/ 171167 w 491469"/>
                    <a:gd name="connsiteY1" fmla="*/ 85305 h 477708"/>
                    <a:gd name="connsiteX2" fmla="*/ 325218 w 491469"/>
                    <a:gd name="connsiteY2" fmla="*/ 227480 h 477708"/>
                    <a:gd name="connsiteX3" fmla="*/ 484040 w 491469"/>
                    <a:gd name="connsiteY3" fmla="*/ 385210 h 477708"/>
                    <a:gd name="connsiteX4" fmla="*/ 488807 w 491469"/>
                    <a:gd name="connsiteY4" fmla="*/ 395069 h 477708"/>
                    <a:gd name="connsiteX5" fmla="*/ 473563 w 491469"/>
                    <a:gd name="connsiteY5" fmla="*/ 460647 h 477708"/>
                    <a:gd name="connsiteX6" fmla="*/ 387979 w 491469"/>
                    <a:gd name="connsiteY6" fmla="*/ 460647 h 477708"/>
                    <a:gd name="connsiteX7" fmla="*/ 85584 w 491469"/>
                    <a:gd name="connsiteY7" fmla="*/ 170610 h 477708"/>
                    <a:gd name="connsiteX8" fmla="*/ 0 w 491469"/>
                    <a:gd name="connsiteY8" fmla="*/ 85305 h 477708"/>
                    <a:gd name="connsiteX9" fmla="*/ 85584 w 491469"/>
                    <a:gd name="connsiteY9" fmla="*/ 0 h 477708"/>
                    <a:gd name="connsiteX10" fmla="*/ 145492 w 491469"/>
                    <a:gd name="connsiteY10" fmla="*/ 25592 h 477708"/>
                    <a:gd name="connsiteX0" fmla="*/ 145492 w 491469"/>
                    <a:gd name="connsiteY0" fmla="*/ 25592 h 477708"/>
                    <a:gd name="connsiteX1" fmla="*/ 171167 w 491469"/>
                    <a:gd name="connsiteY1" fmla="*/ 85305 h 477708"/>
                    <a:gd name="connsiteX2" fmla="*/ 484040 w 491469"/>
                    <a:gd name="connsiteY2" fmla="*/ 385210 h 477708"/>
                    <a:gd name="connsiteX3" fmla="*/ 488807 w 491469"/>
                    <a:gd name="connsiteY3" fmla="*/ 395069 h 477708"/>
                    <a:gd name="connsiteX4" fmla="*/ 473563 w 491469"/>
                    <a:gd name="connsiteY4" fmla="*/ 460647 h 477708"/>
                    <a:gd name="connsiteX5" fmla="*/ 387979 w 491469"/>
                    <a:gd name="connsiteY5" fmla="*/ 460647 h 477708"/>
                    <a:gd name="connsiteX6" fmla="*/ 85584 w 491469"/>
                    <a:gd name="connsiteY6" fmla="*/ 170610 h 477708"/>
                    <a:gd name="connsiteX7" fmla="*/ 0 w 491469"/>
                    <a:gd name="connsiteY7" fmla="*/ 85305 h 477708"/>
                    <a:gd name="connsiteX8" fmla="*/ 85584 w 491469"/>
                    <a:gd name="connsiteY8" fmla="*/ 0 h 477708"/>
                    <a:gd name="connsiteX9" fmla="*/ 145492 w 491469"/>
                    <a:gd name="connsiteY9" fmla="*/ 25592 h 477708"/>
                    <a:gd name="connsiteX0" fmla="*/ 145492 w 491469"/>
                    <a:gd name="connsiteY0" fmla="*/ 25592 h 477708"/>
                    <a:gd name="connsiteX1" fmla="*/ 171167 w 491469"/>
                    <a:gd name="connsiteY1" fmla="*/ 85305 h 477708"/>
                    <a:gd name="connsiteX2" fmla="*/ 488807 w 491469"/>
                    <a:gd name="connsiteY2" fmla="*/ 395069 h 477708"/>
                    <a:gd name="connsiteX3" fmla="*/ 473563 w 491469"/>
                    <a:gd name="connsiteY3" fmla="*/ 460647 h 477708"/>
                    <a:gd name="connsiteX4" fmla="*/ 387979 w 491469"/>
                    <a:gd name="connsiteY4" fmla="*/ 460647 h 477708"/>
                    <a:gd name="connsiteX5" fmla="*/ 85584 w 491469"/>
                    <a:gd name="connsiteY5" fmla="*/ 170610 h 477708"/>
                    <a:gd name="connsiteX6" fmla="*/ 0 w 491469"/>
                    <a:gd name="connsiteY6" fmla="*/ 85305 h 477708"/>
                    <a:gd name="connsiteX7" fmla="*/ 85584 w 491469"/>
                    <a:gd name="connsiteY7" fmla="*/ 0 h 477708"/>
                    <a:gd name="connsiteX8" fmla="*/ 145492 w 491469"/>
                    <a:gd name="connsiteY8" fmla="*/ 25592 h 477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1469" h="477708">
                      <a:moveTo>
                        <a:pt x="145492" y="25592"/>
                      </a:moveTo>
                      <a:cubicBezTo>
                        <a:pt x="161183" y="41231"/>
                        <a:pt x="171167" y="62557"/>
                        <a:pt x="171167" y="85305"/>
                      </a:cubicBezTo>
                      <a:lnTo>
                        <a:pt x="488807" y="395069"/>
                      </a:lnTo>
                      <a:cubicBezTo>
                        <a:pt x="494959" y="416928"/>
                        <a:pt x="490679" y="443586"/>
                        <a:pt x="473563" y="460647"/>
                      </a:cubicBezTo>
                      <a:cubicBezTo>
                        <a:pt x="450740" y="483395"/>
                        <a:pt x="410801" y="483395"/>
                        <a:pt x="387979" y="460647"/>
                      </a:cubicBezTo>
                      <a:lnTo>
                        <a:pt x="85584" y="170610"/>
                      </a:lnTo>
                      <a:cubicBezTo>
                        <a:pt x="39939" y="170610"/>
                        <a:pt x="0" y="136488"/>
                        <a:pt x="0" y="85305"/>
                      </a:cubicBezTo>
                      <a:cubicBezTo>
                        <a:pt x="0" y="39809"/>
                        <a:pt x="39939" y="0"/>
                        <a:pt x="85584" y="0"/>
                      </a:cubicBezTo>
                      <a:cubicBezTo>
                        <a:pt x="108406" y="0"/>
                        <a:pt x="129802" y="9952"/>
                        <a:pt x="145492" y="25592"/>
                      </a:cubicBezTo>
                      <a:close/>
                    </a:path>
                  </a:pathLst>
                </a:custGeom>
                <a:solidFill>
                  <a:srgbClr val="FF8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</p:grpSp>
        </p:grpSp>
        <p:sp>
          <p:nvSpPr>
            <p:cNvPr id="13" name="Freeform 12"/>
            <p:cNvSpPr/>
            <p:nvPr/>
          </p:nvSpPr>
          <p:spPr bwMode="auto">
            <a:xfrm>
              <a:off x="1791732" y="4041568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57175" indent="-257175"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</a:pPr>
              <a:endParaRPr lang="en-IN" sz="1500" b="1" dirty="0" err="1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632529" y="3173373"/>
            <a:ext cx="2012701" cy="1262841"/>
            <a:chOff x="8512352" y="3954868"/>
            <a:chExt cx="2540882" cy="1594241"/>
          </a:xfrm>
        </p:grpSpPr>
        <p:sp>
          <p:nvSpPr>
            <p:cNvPr id="22" name="Freeform 21"/>
            <p:cNvSpPr/>
            <p:nvPr/>
          </p:nvSpPr>
          <p:spPr bwMode="auto">
            <a:xfrm>
              <a:off x="8512352" y="3954868"/>
              <a:ext cx="2540882" cy="1594241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78349" h="545581">
                  <a:moveTo>
                    <a:pt x="490507" y="0"/>
                  </a:moveTo>
                  <a:cubicBezTo>
                    <a:pt x="636654" y="0"/>
                    <a:pt x="755129" y="118475"/>
                    <a:pt x="755129" y="264622"/>
                  </a:cubicBezTo>
                  <a:lnTo>
                    <a:pt x="753041" y="285331"/>
                  </a:lnTo>
                  <a:lnTo>
                    <a:pt x="798544" y="294518"/>
                  </a:lnTo>
                  <a:cubicBezTo>
                    <a:pt x="845442" y="314354"/>
                    <a:pt x="878349" y="360792"/>
                    <a:pt x="878349" y="414915"/>
                  </a:cubicBezTo>
                  <a:cubicBezTo>
                    <a:pt x="878349" y="469039"/>
                    <a:pt x="845442" y="515477"/>
                    <a:pt x="798544" y="535313"/>
                  </a:cubicBezTo>
                  <a:lnTo>
                    <a:pt x="759827" y="543129"/>
                  </a:lnTo>
                  <a:lnTo>
                    <a:pt x="753908" y="545581"/>
                  </a:lnTo>
                  <a:lnTo>
                    <a:pt x="747683" y="545581"/>
                  </a:lnTo>
                  <a:lnTo>
                    <a:pt x="190471" y="545581"/>
                  </a:lnTo>
                  <a:lnTo>
                    <a:pt x="166602" y="545581"/>
                  </a:lnTo>
                  <a:lnTo>
                    <a:pt x="158924" y="542401"/>
                  </a:lnTo>
                  <a:lnTo>
                    <a:pt x="152084" y="541712"/>
                  </a:lnTo>
                  <a:cubicBezTo>
                    <a:pt x="65290" y="523951"/>
                    <a:pt x="0" y="447155"/>
                    <a:pt x="0" y="355110"/>
                  </a:cubicBezTo>
                  <a:cubicBezTo>
                    <a:pt x="0" y="249916"/>
                    <a:pt x="85277" y="164639"/>
                    <a:pt x="190471" y="164639"/>
                  </a:cubicBezTo>
                  <a:cubicBezTo>
                    <a:pt x="203620" y="164639"/>
                    <a:pt x="216458" y="165972"/>
                    <a:pt x="228858" y="168509"/>
                  </a:cubicBezTo>
                  <a:lnTo>
                    <a:pt x="244320" y="173309"/>
                  </a:lnTo>
                  <a:lnTo>
                    <a:pt x="246680" y="161619"/>
                  </a:lnTo>
                  <a:cubicBezTo>
                    <a:pt x="286852" y="66642"/>
                    <a:pt x="380897" y="0"/>
                    <a:pt x="490507" y="0"/>
                  </a:cubicBezTo>
                  <a:close/>
                </a:path>
              </a:pathLst>
            </a:custGeom>
            <a:solidFill>
              <a:schemeClr val="bg1">
                <a:alpha val="28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5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Freeform 22"/>
            <p:cNvSpPr>
              <a:spLocks noChangeAspect="1"/>
            </p:cNvSpPr>
            <p:nvPr/>
          </p:nvSpPr>
          <p:spPr bwMode="auto">
            <a:xfrm>
              <a:off x="8887465" y="4250219"/>
              <a:ext cx="1787491" cy="1131942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78349" h="545581">
                  <a:moveTo>
                    <a:pt x="490507" y="0"/>
                  </a:moveTo>
                  <a:cubicBezTo>
                    <a:pt x="636654" y="0"/>
                    <a:pt x="755129" y="118475"/>
                    <a:pt x="755129" y="264622"/>
                  </a:cubicBezTo>
                  <a:lnTo>
                    <a:pt x="753041" y="285331"/>
                  </a:lnTo>
                  <a:lnTo>
                    <a:pt x="798544" y="294518"/>
                  </a:lnTo>
                  <a:cubicBezTo>
                    <a:pt x="845442" y="314354"/>
                    <a:pt x="878349" y="360792"/>
                    <a:pt x="878349" y="414915"/>
                  </a:cubicBezTo>
                  <a:cubicBezTo>
                    <a:pt x="878349" y="469039"/>
                    <a:pt x="845442" y="515477"/>
                    <a:pt x="798544" y="535313"/>
                  </a:cubicBezTo>
                  <a:lnTo>
                    <a:pt x="759827" y="543129"/>
                  </a:lnTo>
                  <a:lnTo>
                    <a:pt x="753908" y="545581"/>
                  </a:lnTo>
                  <a:lnTo>
                    <a:pt x="747683" y="545581"/>
                  </a:lnTo>
                  <a:lnTo>
                    <a:pt x="190471" y="545581"/>
                  </a:lnTo>
                  <a:lnTo>
                    <a:pt x="166602" y="545581"/>
                  </a:lnTo>
                  <a:lnTo>
                    <a:pt x="158924" y="542401"/>
                  </a:lnTo>
                  <a:lnTo>
                    <a:pt x="152084" y="541712"/>
                  </a:lnTo>
                  <a:cubicBezTo>
                    <a:pt x="65290" y="523951"/>
                    <a:pt x="0" y="447155"/>
                    <a:pt x="0" y="355110"/>
                  </a:cubicBezTo>
                  <a:cubicBezTo>
                    <a:pt x="0" y="249916"/>
                    <a:pt x="85277" y="164639"/>
                    <a:pt x="190471" y="164639"/>
                  </a:cubicBezTo>
                  <a:cubicBezTo>
                    <a:pt x="203620" y="164639"/>
                    <a:pt x="216458" y="165972"/>
                    <a:pt x="228858" y="168509"/>
                  </a:cubicBezTo>
                  <a:lnTo>
                    <a:pt x="244320" y="173309"/>
                  </a:lnTo>
                  <a:lnTo>
                    <a:pt x="246680" y="161619"/>
                  </a:lnTo>
                  <a:cubicBezTo>
                    <a:pt x="286852" y="66642"/>
                    <a:pt x="380897" y="0"/>
                    <a:pt x="490507" y="0"/>
                  </a:cubicBez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5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 23"/>
            <p:cNvSpPr>
              <a:spLocks noChangeAspect="1"/>
            </p:cNvSpPr>
            <p:nvPr/>
          </p:nvSpPr>
          <p:spPr bwMode="auto">
            <a:xfrm>
              <a:off x="9217419" y="4491382"/>
              <a:ext cx="1130749" cy="716056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78349" h="545581">
                  <a:moveTo>
                    <a:pt x="490507" y="0"/>
                  </a:moveTo>
                  <a:cubicBezTo>
                    <a:pt x="636654" y="0"/>
                    <a:pt x="755129" y="118475"/>
                    <a:pt x="755129" y="264622"/>
                  </a:cubicBezTo>
                  <a:lnTo>
                    <a:pt x="753041" y="285331"/>
                  </a:lnTo>
                  <a:lnTo>
                    <a:pt x="798544" y="294518"/>
                  </a:lnTo>
                  <a:cubicBezTo>
                    <a:pt x="845442" y="314354"/>
                    <a:pt x="878349" y="360792"/>
                    <a:pt x="878349" y="414915"/>
                  </a:cubicBezTo>
                  <a:cubicBezTo>
                    <a:pt x="878349" y="469039"/>
                    <a:pt x="845442" y="515477"/>
                    <a:pt x="798544" y="535313"/>
                  </a:cubicBezTo>
                  <a:lnTo>
                    <a:pt x="759827" y="543129"/>
                  </a:lnTo>
                  <a:lnTo>
                    <a:pt x="753908" y="545581"/>
                  </a:lnTo>
                  <a:lnTo>
                    <a:pt x="747683" y="545581"/>
                  </a:lnTo>
                  <a:lnTo>
                    <a:pt x="190471" y="545581"/>
                  </a:lnTo>
                  <a:lnTo>
                    <a:pt x="166602" y="545581"/>
                  </a:lnTo>
                  <a:lnTo>
                    <a:pt x="158924" y="542401"/>
                  </a:lnTo>
                  <a:lnTo>
                    <a:pt x="152084" y="541712"/>
                  </a:lnTo>
                  <a:cubicBezTo>
                    <a:pt x="65290" y="523951"/>
                    <a:pt x="0" y="447155"/>
                    <a:pt x="0" y="355110"/>
                  </a:cubicBezTo>
                  <a:cubicBezTo>
                    <a:pt x="0" y="249916"/>
                    <a:pt x="85277" y="164639"/>
                    <a:pt x="190471" y="164639"/>
                  </a:cubicBezTo>
                  <a:cubicBezTo>
                    <a:pt x="203620" y="164639"/>
                    <a:pt x="216458" y="165972"/>
                    <a:pt x="228858" y="168509"/>
                  </a:cubicBezTo>
                  <a:lnTo>
                    <a:pt x="244320" y="173309"/>
                  </a:lnTo>
                  <a:lnTo>
                    <a:pt x="246680" y="161619"/>
                  </a:lnTo>
                  <a:cubicBezTo>
                    <a:pt x="286852" y="66642"/>
                    <a:pt x="380897" y="0"/>
                    <a:pt x="490507" y="0"/>
                  </a:cubicBezTo>
                  <a:close/>
                </a:path>
              </a:pathLst>
            </a:custGeom>
            <a:solidFill>
              <a:schemeClr val="bg1">
                <a:alpha val="39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5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Freeform 24"/>
            <p:cNvSpPr>
              <a:spLocks noChangeAspect="1"/>
            </p:cNvSpPr>
            <p:nvPr/>
          </p:nvSpPr>
          <p:spPr bwMode="auto">
            <a:xfrm>
              <a:off x="9458905" y="4676098"/>
              <a:ext cx="647777" cy="410210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78349" h="545581">
                  <a:moveTo>
                    <a:pt x="490507" y="0"/>
                  </a:moveTo>
                  <a:cubicBezTo>
                    <a:pt x="636654" y="0"/>
                    <a:pt x="755129" y="118475"/>
                    <a:pt x="755129" y="264622"/>
                  </a:cubicBezTo>
                  <a:lnTo>
                    <a:pt x="753041" y="285331"/>
                  </a:lnTo>
                  <a:lnTo>
                    <a:pt x="798544" y="294518"/>
                  </a:lnTo>
                  <a:cubicBezTo>
                    <a:pt x="845442" y="314354"/>
                    <a:pt x="878349" y="360792"/>
                    <a:pt x="878349" y="414915"/>
                  </a:cubicBezTo>
                  <a:cubicBezTo>
                    <a:pt x="878349" y="469039"/>
                    <a:pt x="845442" y="515477"/>
                    <a:pt x="798544" y="535313"/>
                  </a:cubicBezTo>
                  <a:lnTo>
                    <a:pt x="759827" y="543129"/>
                  </a:lnTo>
                  <a:lnTo>
                    <a:pt x="753908" y="545581"/>
                  </a:lnTo>
                  <a:lnTo>
                    <a:pt x="747683" y="545581"/>
                  </a:lnTo>
                  <a:lnTo>
                    <a:pt x="190471" y="545581"/>
                  </a:lnTo>
                  <a:lnTo>
                    <a:pt x="166602" y="545581"/>
                  </a:lnTo>
                  <a:lnTo>
                    <a:pt x="158924" y="542401"/>
                  </a:lnTo>
                  <a:lnTo>
                    <a:pt x="152084" y="541712"/>
                  </a:lnTo>
                  <a:cubicBezTo>
                    <a:pt x="65290" y="523951"/>
                    <a:pt x="0" y="447155"/>
                    <a:pt x="0" y="355110"/>
                  </a:cubicBezTo>
                  <a:cubicBezTo>
                    <a:pt x="0" y="249916"/>
                    <a:pt x="85277" y="164639"/>
                    <a:pt x="190471" y="164639"/>
                  </a:cubicBezTo>
                  <a:cubicBezTo>
                    <a:pt x="203620" y="164639"/>
                    <a:pt x="216458" y="165972"/>
                    <a:pt x="228858" y="168509"/>
                  </a:cubicBezTo>
                  <a:lnTo>
                    <a:pt x="244320" y="173309"/>
                  </a:lnTo>
                  <a:lnTo>
                    <a:pt x="246680" y="161619"/>
                  </a:lnTo>
                  <a:cubicBezTo>
                    <a:pt x="286852" y="66642"/>
                    <a:pt x="380897" y="0"/>
                    <a:pt x="490507" y="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5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257045" y="2009539"/>
            <a:ext cx="2862243" cy="2862242"/>
            <a:chOff x="4353427" y="1549196"/>
            <a:chExt cx="3816324" cy="3816323"/>
          </a:xfrm>
        </p:grpSpPr>
        <p:sp>
          <p:nvSpPr>
            <p:cNvPr id="27" name="TextBox 26"/>
            <p:cNvSpPr txBox="1"/>
            <p:nvPr/>
          </p:nvSpPr>
          <p:spPr>
            <a:xfrm>
              <a:off x="4353427" y="1549196"/>
              <a:ext cx="3816324" cy="3816323"/>
            </a:xfrm>
            <a:prstGeom prst="rect">
              <a:avLst/>
            </a:prstGeom>
            <a:solidFill>
              <a:schemeClr val="accent5"/>
            </a:solidFill>
          </p:spPr>
          <p:txBody>
            <a:bodyPr wrap="square" lIns="137160" tIns="109728" rIns="137160" bIns="109728" rtlCol="0">
              <a:noAutofit/>
            </a:bodyPr>
            <a:lstStyle/>
            <a:p>
              <a:pPr defTabSz="699516">
                <a:lnSpc>
                  <a:spcPct val="90000"/>
                </a:lnSpc>
              </a:pPr>
              <a:r>
                <a:rPr lang="en-US" sz="3000" spc="-23" dirty="0">
                  <a:solidFill>
                    <a:schemeClr val="bg2">
                      <a:lumMod val="10000"/>
                    </a:schemeClr>
                  </a:solidFill>
                  <a:latin typeface="Segoe UI Light"/>
                </a:rPr>
                <a:t>Deeper insights across data</a:t>
              </a:r>
              <a:endParaRPr lang="en-US" sz="2100" b="1" spc="-23" dirty="0">
                <a:solidFill>
                  <a:schemeClr val="bg2">
                    <a:lumMod val="10000"/>
                  </a:schemeClr>
                </a:solidFill>
                <a:latin typeface="Segoe UI Light"/>
              </a:endParaRP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5431344" y="3086713"/>
              <a:ext cx="1649744" cy="1649745"/>
              <a:chOff x="11092177" y="4747627"/>
              <a:chExt cx="540526" cy="540526"/>
            </a:xfrm>
          </p:grpSpPr>
          <p:sp>
            <p:nvSpPr>
              <p:cNvPr id="29" name="Freeform 186"/>
              <p:cNvSpPr>
                <a:spLocks/>
              </p:cNvSpPr>
              <p:nvPr/>
            </p:nvSpPr>
            <p:spPr bwMode="auto">
              <a:xfrm>
                <a:off x="11092177" y="4747627"/>
                <a:ext cx="540526" cy="540526"/>
              </a:xfrm>
              <a:prstGeom prst="ellipse">
                <a:avLst/>
              </a:prstGeom>
              <a:solidFill>
                <a:schemeClr val="bg1">
                  <a:alpha val="28000"/>
                </a:schemeClr>
              </a:solidFill>
              <a:ln>
                <a:noFill/>
              </a:ln>
            </p:spPr>
            <p:txBody>
              <a:bodyPr vert="horz" wrap="square" lIns="68570" tIns="34285" rIns="68570" bIns="34285" numCol="1" anchor="t" anchorCtr="0" compatLnSpc="1">
                <a:prstTxWarp prst="textNoShape">
                  <a:avLst/>
                </a:prstTxWarp>
              </a:bodyPr>
              <a:lstStyle/>
              <a:p>
                <a:pPr defTabSz="698763"/>
                <a:endParaRPr lang="en-IN" sz="135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30" name="Freeform 187"/>
              <p:cNvSpPr>
                <a:spLocks noEditPoints="1"/>
              </p:cNvSpPr>
              <p:nvPr/>
            </p:nvSpPr>
            <p:spPr bwMode="auto">
              <a:xfrm>
                <a:off x="11185499" y="4841873"/>
                <a:ext cx="352959" cy="352035"/>
              </a:xfrm>
              <a:prstGeom prst="ellipse">
                <a:avLst/>
              </a:prstGeom>
              <a:solidFill>
                <a:schemeClr val="bg1">
                  <a:alpha val="51000"/>
                </a:schemeClr>
              </a:solidFill>
              <a:ln>
                <a:noFill/>
              </a:ln>
            </p:spPr>
            <p:txBody>
              <a:bodyPr vert="horz" wrap="square" lIns="68570" tIns="34285" rIns="68570" bIns="34285" numCol="1" anchor="t" anchorCtr="0" compatLnSpc="1">
                <a:prstTxWarp prst="textNoShape">
                  <a:avLst/>
                </a:prstTxWarp>
              </a:bodyPr>
              <a:lstStyle/>
              <a:p>
                <a:pPr defTabSz="698763"/>
                <a:endParaRPr lang="en-IN" sz="135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1258851" y="4915585"/>
                <a:ext cx="207178" cy="289828"/>
                <a:chOff x="-2260600" y="4106863"/>
                <a:chExt cx="298450" cy="417513"/>
              </a:xfrm>
            </p:grpSpPr>
            <p:sp>
              <p:nvSpPr>
                <p:cNvPr id="32" name="Freeform 188"/>
                <p:cNvSpPr>
                  <a:spLocks/>
                </p:cNvSpPr>
                <p:nvPr/>
              </p:nvSpPr>
              <p:spPr bwMode="auto">
                <a:xfrm>
                  <a:off x="-2260600" y="4106863"/>
                  <a:ext cx="298450" cy="376238"/>
                </a:xfrm>
                <a:custGeom>
                  <a:avLst/>
                  <a:gdLst>
                    <a:gd name="T0" fmla="*/ 398 w 398"/>
                    <a:gd name="T1" fmla="*/ 199 h 504"/>
                    <a:gd name="T2" fmla="*/ 199 w 398"/>
                    <a:gd name="T3" fmla="*/ 0 h 504"/>
                    <a:gd name="T4" fmla="*/ 0 w 398"/>
                    <a:gd name="T5" fmla="*/ 199 h 504"/>
                    <a:gd name="T6" fmla="*/ 60 w 398"/>
                    <a:gd name="T7" fmla="*/ 341 h 504"/>
                    <a:gd name="T8" fmla="*/ 60 w 398"/>
                    <a:gd name="T9" fmla="*/ 341 h 504"/>
                    <a:gd name="T10" fmla="*/ 122 w 398"/>
                    <a:gd name="T11" fmla="*/ 468 h 504"/>
                    <a:gd name="T12" fmla="*/ 195 w 398"/>
                    <a:gd name="T13" fmla="*/ 501 h 504"/>
                    <a:gd name="T14" fmla="*/ 196 w 398"/>
                    <a:gd name="T15" fmla="*/ 504 h 504"/>
                    <a:gd name="T16" fmla="*/ 199 w 398"/>
                    <a:gd name="T17" fmla="*/ 502 h 504"/>
                    <a:gd name="T18" fmla="*/ 202 w 398"/>
                    <a:gd name="T19" fmla="*/ 504 h 504"/>
                    <a:gd name="T20" fmla="*/ 203 w 398"/>
                    <a:gd name="T21" fmla="*/ 501 h 504"/>
                    <a:gd name="T22" fmla="*/ 276 w 398"/>
                    <a:gd name="T23" fmla="*/ 468 h 504"/>
                    <a:gd name="T24" fmla="*/ 336 w 398"/>
                    <a:gd name="T25" fmla="*/ 344 h 504"/>
                    <a:gd name="T26" fmla="*/ 398 w 398"/>
                    <a:gd name="T27" fmla="*/ 199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98" h="504">
                      <a:moveTo>
                        <a:pt x="398" y="199"/>
                      </a:moveTo>
                      <a:cubicBezTo>
                        <a:pt x="398" y="89"/>
                        <a:pt x="309" y="0"/>
                        <a:pt x="199" y="0"/>
                      </a:cubicBezTo>
                      <a:cubicBezTo>
                        <a:pt x="89" y="0"/>
                        <a:pt x="0" y="89"/>
                        <a:pt x="0" y="199"/>
                      </a:cubicBezTo>
                      <a:cubicBezTo>
                        <a:pt x="0" y="255"/>
                        <a:pt x="23" y="305"/>
                        <a:pt x="60" y="341"/>
                      </a:cubicBezTo>
                      <a:cubicBezTo>
                        <a:pt x="60" y="341"/>
                        <a:pt x="60" y="341"/>
                        <a:pt x="60" y="341"/>
                      </a:cubicBezTo>
                      <a:cubicBezTo>
                        <a:pt x="120" y="402"/>
                        <a:pt x="122" y="468"/>
                        <a:pt x="122" y="468"/>
                      </a:cubicBezTo>
                      <a:cubicBezTo>
                        <a:pt x="195" y="501"/>
                        <a:pt x="195" y="501"/>
                        <a:pt x="195" y="501"/>
                      </a:cubicBezTo>
                      <a:cubicBezTo>
                        <a:pt x="196" y="504"/>
                        <a:pt x="196" y="504"/>
                        <a:pt x="196" y="504"/>
                      </a:cubicBezTo>
                      <a:cubicBezTo>
                        <a:pt x="199" y="502"/>
                        <a:pt x="199" y="502"/>
                        <a:pt x="199" y="502"/>
                      </a:cubicBezTo>
                      <a:cubicBezTo>
                        <a:pt x="202" y="504"/>
                        <a:pt x="202" y="504"/>
                        <a:pt x="202" y="504"/>
                      </a:cubicBezTo>
                      <a:cubicBezTo>
                        <a:pt x="203" y="501"/>
                        <a:pt x="203" y="501"/>
                        <a:pt x="203" y="501"/>
                      </a:cubicBezTo>
                      <a:cubicBezTo>
                        <a:pt x="276" y="468"/>
                        <a:pt x="276" y="468"/>
                        <a:pt x="276" y="468"/>
                      </a:cubicBezTo>
                      <a:cubicBezTo>
                        <a:pt x="276" y="468"/>
                        <a:pt x="278" y="403"/>
                        <a:pt x="336" y="344"/>
                      </a:cubicBezTo>
                      <a:cubicBezTo>
                        <a:pt x="374" y="307"/>
                        <a:pt x="398" y="256"/>
                        <a:pt x="398" y="19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0" tIns="34285" rIns="68570" bIns="34285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98763"/>
                  <a:endParaRPr lang="en-IN" sz="1350">
                    <a:solidFill>
                      <a:schemeClr val="bg2">
                        <a:lumMod val="10000"/>
                      </a:schemeClr>
                    </a:solidFill>
                  </a:endParaRPr>
                </a:p>
              </p:txBody>
            </p:sp>
            <p:sp>
              <p:nvSpPr>
                <p:cNvPr id="33" name="Freeform 192"/>
                <p:cNvSpPr>
                  <a:spLocks noEditPoints="1"/>
                </p:cNvSpPr>
                <p:nvPr/>
              </p:nvSpPr>
              <p:spPr bwMode="auto">
                <a:xfrm>
                  <a:off x="-2260600" y="4254501"/>
                  <a:ext cx="230188" cy="198438"/>
                </a:xfrm>
                <a:custGeom>
                  <a:avLst/>
                  <a:gdLst>
                    <a:gd name="T0" fmla="*/ 276 w 308"/>
                    <a:gd name="T1" fmla="*/ 267 h 267"/>
                    <a:gd name="T2" fmla="*/ 276 w 308"/>
                    <a:gd name="T3" fmla="*/ 267 h 267"/>
                    <a:gd name="T4" fmla="*/ 276 w 308"/>
                    <a:gd name="T5" fmla="*/ 267 h 267"/>
                    <a:gd name="T6" fmla="*/ 276 w 308"/>
                    <a:gd name="T7" fmla="*/ 267 h 267"/>
                    <a:gd name="T8" fmla="*/ 308 w 308"/>
                    <a:gd name="T9" fmla="*/ 180 h 267"/>
                    <a:gd name="T10" fmla="*/ 276 w 308"/>
                    <a:gd name="T11" fmla="*/ 261 h 267"/>
                    <a:gd name="T12" fmla="*/ 308 w 308"/>
                    <a:gd name="T13" fmla="*/ 180 h 267"/>
                    <a:gd name="T14" fmla="*/ 308 w 308"/>
                    <a:gd name="T15" fmla="*/ 180 h 267"/>
                    <a:gd name="T16" fmla="*/ 308 w 308"/>
                    <a:gd name="T17" fmla="*/ 180 h 267"/>
                    <a:gd name="T18" fmla="*/ 0 w 308"/>
                    <a:gd name="T19" fmla="*/ 1 h 267"/>
                    <a:gd name="T20" fmla="*/ 0 w 308"/>
                    <a:gd name="T21" fmla="*/ 1 h 267"/>
                    <a:gd name="T22" fmla="*/ 0 w 308"/>
                    <a:gd name="T23" fmla="*/ 1 h 267"/>
                    <a:gd name="T24" fmla="*/ 0 w 308"/>
                    <a:gd name="T25" fmla="*/ 1 h 267"/>
                    <a:gd name="T26" fmla="*/ 0 w 308"/>
                    <a:gd name="T27" fmla="*/ 0 h 267"/>
                    <a:gd name="T28" fmla="*/ 0 w 308"/>
                    <a:gd name="T29" fmla="*/ 0 h 267"/>
                    <a:gd name="T30" fmla="*/ 0 w 308"/>
                    <a:gd name="T31" fmla="*/ 0 h 267"/>
                    <a:gd name="T32" fmla="*/ 0 w 308"/>
                    <a:gd name="T33" fmla="*/ 0 h 267"/>
                    <a:gd name="T34" fmla="*/ 0 w 308"/>
                    <a:gd name="T35" fmla="*/ 0 h 267"/>
                    <a:gd name="T36" fmla="*/ 0 w 308"/>
                    <a:gd name="T37" fmla="*/ 0 h 267"/>
                    <a:gd name="T38" fmla="*/ 0 w 308"/>
                    <a:gd name="T39" fmla="*/ 0 h 267"/>
                    <a:gd name="T40" fmla="*/ 0 w 308"/>
                    <a:gd name="T41" fmla="*/ 0 h 267"/>
                    <a:gd name="T42" fmla="*/ 0 w 308"/>
                    <a:gd name="T43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08" h="267">
                      <a:moveTo>
                        <a:pt x="276" y="267"/>
                      </a:moveTo>
                      <a:cubicBezTo>
                        <a:pt x="276" y="267"/>
                        <a:pt x="276" y="267"/>
                        <a:pt x="276" y="267"/>
                      </a:cubicBezTo>
                      <a:cubicBezTo>
                        <a:pt x="276" y="267"/>
                        <a:pt x="276" y="267"/>
                        <a:pt x="276" y="267"/>
                      </a:cubicBezTo>
                      <a:cubicBezTo>
                        <a:pt x="276" y="267"/>
                        <a:pt x="276" y="267"/>
                        <a:pt x="276" y="267"/>
                      </a:cubicBezTo>
                      <a:moveTo>
                        <a:pt x="308" y="180"/>
                      </a:moveTo>
                      <a:cubicBezTo>
                        <a:pt x="286" y="214"/>
                        <a:pt x="279" y="246"/>
                        <a:pt x="276" y="261"/>
                      </a:cubicBezTo>
                      <a:cubicBezTo>
                        <a:pt x="279" y="246"/>
                        <a:pt x="286" y="214"/>
                        <a:pt x="308" y="180"/>
                      </a:cubicBezTo>
                      <a:cubicBezTo>
                        <a:pt x="308" y="180"/>
                        <a:pt x="308" y="180"/>
                        <a:pt x="308" y="180"/>
                      </a:cubicBezTo>
                      <a:cubicBezTo>
                        <a:pt x="308" y="180"/>
                        <a:pt x="308" y="180"/>
                        <a:pt x="308" y="180"/>
                      </a:cubicBezTo>
                      <a:moveTo>
                        <a:pt x="0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A8CC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0" tIns="34285" rIns="68570" bIns="34285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98763"/>
                  <a:endParaRPr lang="en-IN" sz="1350">
                    <a:solidFill>
                      <a:schemeClr val="bg2">
                        <a:lumMod val="10000"/>
                      </a:schemeClr>
                    </a:solidFill>
                  </a:endParaRPr>
                </a:p>
              </p:txBody>
            </p:sp>
            <p:sp>
              <p:nvSpPr>
                <p:cNvPr id="34" name="Rectangle 194"/>
                <p:cNvSpPr>
                  <a:spLocks noChangeArrowheads="1"/>
                </p:cNvSpPr>
                <p:nvPr/>
              </p:nvSpPr>
              <p:spPr bwMode="auto">
                <a:xfrm>
                  <a:off x="-2168525" y="4452938"/>
                  <a:ext cx="114300" cy="71438"/>
                </a:xfrm>
                <a:prstGeom prst="rect">
                  <a:avLst/>
                </a:prstGeom>
                <a:solidFill>
                  <a:schemeClr val="bg2">
                    <a:lumMod val="1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70" tIns="34285" rIns="68570" bIns="34285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98763"/>
                  <a:endParaRPr lang="en-IN" sz="1350">
                    <a:solidFill>
                      <a:schemeClr val="bg2">
                        <a:lumMod val="10000"/>
                      </a:schemeClr>
                    </a:solidFill>
                  </a:endParaRPr>
                </a:p>
              </p:txBody>
            </p:sp>
            <p:sp>
              <p:nvSpPr>
                <p:cNvPr id="35" name="Freeform 193"/>
                <p:cNvSpPr>
                  <a:spLocks/>
                </p:cNvSpPr>
                <p:nvPr/>
              </p:nvSpPr>
              <p:spPr bwMode="auto">
                <a:xfrm>
                  <a:off x="-2260600" y="4179888"/>
                  <a:ext cx="230188" cy="276225"/>
                </a:xfrm>
                <a:custGeom>
                  <a:avLst/>
                  <a:gdLst>
                    <a:gd name="T0" fmla="*/ 28 w 308"/>
                    <a:gd name="T1" fmla="*/ 0 h 370"/>
                    <a:gd name="T2" fmla="*/ 0 w 308"/>
                    <a:gd name="T3" fmla="*/ 100 h 370"/>
                    <a:gd name="T4" fmla="*/ 0 w 308"/>
                    <a:gd name="T5" fmla="*/ 100 h 370"/>
                    <a:gd name="T6" fmla="*/ 0 w 308"/>
                    <a:gd name="T7" fmla="*/ 100 h 370"/>
                    <a:gd name="T8" fmla="*/ 0 w 308"/>
                    <a:gd name="T9" fmla="*/ 100 h 370"/>
                    <a:gd name="T10" fmla="*/ 0 w 308"/>
                    <a:gd name="T11" fmla="*/ 100 h 370"/>
                    <a:gd name="T12" fmla="*/ 0 w 308"/>
                    <a:gd name="T13" fmla="*/ 100 h 370"/>
                    <a:gd name="T14" fmla="*/ 0 w 308"/>
                    <a:gd name="T15" fmla="*/ 101 h 370"/>
                    <a:gd name="T16" fmla="*/ 0 w 308"/>
                    <a:gd name="T17" fmla="*/ 101 h 370"/>
                    <a:gd name="T18" fmla="*/ 60 w 308"/>
                    <a:gd name="T19" fmla="*/ 243 h 370"/>
                    <a:gd name="T20" fmla="*/ 60 w 308"/>
                    <a:gd name="T21" fmla="*/ 243 h 370"/>
                    <a:gd name="T22" fmla="*/ 60 w 308"/>
                    <a:gd name="T23" fmla="*/ 243 h 370"/>
                    <a:gd name="T24" fmla="*/ 60 w 308"/>
                    <a:gd name="T25" fmla="*/ 243 h 370"/>
                    <a:gd name="T26" fmla="*/ 122 w 308"/>
                    <a:gd name="T27" fmla="*/ 370 h 370"/>
                    <a:gd name="T28" fmla="*/ 276 w 308"/>
                    <a:gd name="T29" fmla="*/ 367 h 370"/>
                    <a:gd name="T30" fmla="*/ 276 w 308"/>
                    <a:gd name="T31" fmla="*/ 367 h 370"/>
                    <a:gd name="T32" fmla="*/ 276 w 308"/>
                    <a:gd name="T33" fmla="*/ 367 h 370"/>
                    <a:gd name="T34" fmla="*/ 276 w 308"/>
                    <a:gd name="T35" fmla="*/ 361 h 370"/>
                    <a:gd name="T36" fmla="*/ 308 w 308"/>
                    <a:gd name="T37" fmla="*/ 280 h 370"/>
                    <a:gd name="T38" fmla="*/ 28 w 308"/>
                    <a:gd name="T39" fmla="*/ 0 h 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08" h="370">
                      <a:moveTo>
                        <a:pt x="28" y="0"/>
                      </a:moveTo>
                      <a:cubicBezTo>
                        <a:pt x="10" y="29"/>
                        <a:pt x="0" y="63"/>
                        <a:pt x="0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0" y="157"/>
                        <a:pt x="23" y="207"/>
                        <a:pt x="60" y="243"/>
                      </a:cubicBezTo>
                      <a:cubicBezTo>
                        <a:pt x="60" y="243"/>
                        <a:pt x="60" y="243"/>
                        <a:pt x="60" y="243"/>
                      </a:cubicBezTo>
                      <a:cubicBezTo>
                        <a:pt x="60" y="243"/>
                        <a:pt x="60" y="243"/>
                        <a:pt x="60" y="243"/>
                      </a:cubicBezTo>
                      <a:cubicBezTo>
                        <a:pt x="60" y="243"/>
                        <a:pt x="60" y="243"/>
                        <a:pt x="60" y="243"/>
                      </a:cubicBezTo>
                      <a:cubicBezTo>
                        <a:pt x="120" y="304"/>
                        <a:pt x="122" y="370"/>
                        <a:pt x="122" y="370"/>
                      </a:cubicBezTo>
                      <a:cubicBezTo>
                        <a:pt x="276" y="367"/>
                        <a:pt x="276" y="367"/>
                        <a:pt x="276" y="367"/>
                      </a:cubicBezTo>
                      <a:cubicBezTo>
                        <a:pt x="276" y="367"/>
                        <a:pt x="276" y="367"/>
                        <a:pt x="276" y="367"/>
                      </a:cubicBezTo>
                      <a:cubicBezTo>
                        <a:pt x="276" y="367"/>
                        <a:pt x="276" y="367"/>
                        <a:pt x="276" y="367"/>
                      </a:cubicBezTo>
                      <a:cubicBezTo>
                        <a:pt x="276" y="366"/>
                        <a:pt x="276" y="364"/>
                        <a:pt x="276" y="361"/>
                      </a:cubicBezTo>
                      <a:cubicBezTo>
                        <a:pt x="279" y="346"/>
                        <a:pt x="286" y="314"/>
                        <a:pt x="308" y="280"/>
                      </a:cubicBezTo>
                      <a:cubicBezTo>
                        <a:pt x="28" y="0"/>
                        <a:pt x="28" y="0"/>
                        <a:pt x="28" y="0"/>
                      </a:cubicBezTo>
                    </a:path>
                  </a:pathLst>
                </a:custGeom>
                <a:solidFill>
                  <a:srgbClr val="F2F2F2">
                    <a:alpha val="49000"/>
                  </a:srgbClr>
                </a:solidFill>
                <a:ln>
                  <a:noFill/>
                </a:ln>
              </p:spPr>
              <p:txBody>
                <a:bodyPr vert="horz" wrap="square" lIns="68570" tIns="34285" rIns="68570" bIns="34285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98763"/>
                  <a:endParaRPr lang="en-IN" sz="1350">
                    <a:solidFill>
                      <a:schemeClr val="bg2">
                        <a:lumMod val="10000"/>
                      </a:schemeClr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88337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Temporal</a:t>
            </a:r>
            <a:r>
              <a:rPr lang="pl-PL" dirty="0" smtClean="0"/>
              <a:t> </a:t>
            </a:r>
            <a:r>
              <a:rPr lang="pl-PL" dirty="0" err="1" smtClean="0"/>
              <a:t>tables</a:t>
            </a:r>
            <a:endParaRPr lang="en-US" dirty="0"/>
          </a:p>
        </p:txBody>
      </p:sp>
      <p:pic>
        <p:nvPicPr>
          <p:cNvPr id="1026" name="Picture 2" descr="image00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795" y="1108710"/>
            <a:ext cx="8656369" cy="4443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125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Why</a:t>
            </a:r>
            <a:r>
              <a:rPr lang="pl-PL" dirty="0"/>
              <a:t> </a:t>
            </a:r>
            <a:r>
              <a:rPr lang="pl-PL" dirty="0" err="1"/>
              <a:t>temporal</a:t>
            </a:r>
            <a:endParaRPr lang="pl-PL" dirty="0"/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4190524" y="1860930"/>
            <a:ext cx="4724876" cy="369256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rgbClr val="333333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rgbClr val="333333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rgbClr val="333333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rgbClr val="333333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rgbClr val="333333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7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ata changes over time</a:t>
            </a:r>
          </a:p>
          <a:p>
            <a:r>
              <a:rPr lang="en-US" sz="1350" dirty="0">
                <a:solidFill>
                  <a:schemeClr val="tx1"/>
                </a:solidFill>
                <a:latin typeface="+mn-lt"/>
              </a:rPr>
              <a:t>Tracking and analyzing changes is often important</a:t>
            </a:r>
          </a:p>
          <a:p>
            <a:r>
              <a:rPr lang="en-US" sz="27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emporal in DB</a:t>
            </a:r>
          </a:p>
          <a:p>
            <a:r>
              <a:rPr lang="en-US" sz="135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cally tracks history of data changes</a:t>
            </a:r>
          </a:p>
          <a:p>
            <a:r>
              <a:rPr lang="en-US" sz="135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ables easy querying of historical data states </a:t>
            </a:r>
          </a:p>
          <a:p>
            <a:r>
              <a:rPr lang="en-US" sz="27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dvantages over workarounds</a:t>
            </a:r>
          </a:p>
          <a:p>
            <a:r>
              <a:rPr lang="en-US" sz="135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mplifies app development and maintenance</a:t>
            </a:r>
          </a:p>
          <a:p>
            <a:r>
              <a:rPr lang="en-US" sz="135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ently handles complex logic in DB engine</a:t>
            </a:r>
          </a:p>
          <a:p>
            <a:pPr lvl="1"/>
            <a:endParaRPr lang="en-US" sz="1200" dirty="0"/>
          </a:p>
          <a:p>
            <a:pPr lvl="1"/>
            <a:endParaRPr lang="en-US" sz="1200" dirty="0"/>
          </a:p>
        </p:txBody>
      </p:sp>
      <p:grpSp>
        <p:nvGrpSpPr>
          <p:cNvPr id="5" name="Group 4"/>
          <p:cNvGrpSpPr/>
          <p:nvPr/>
        </p:nvGrpSpPr>
        <p:grpSpPr>
          <a:xfrm>
            <a:off x="329997" y="1999579"/>
            <a:ext cx="3391911" cy="3472224"/>
            <a:chOff x="416925" y="2052888"/>
            <a:chExt cx="4094598" cy="4191549"/>
          </a:xfrm>
          <a:solidFill>
            <a:srgbClr val="FFC000"/>
          </a:solidFill>
        </p:grpSpPr>
        <p:grpSp>
          <p:nvGrpSpPr>
            <p:cNvPr id="6" name="Group 5"/>
            <p:cNvGrpSpPr/>
            <p:nvPr/>
          </p:nvGrpSpPr>
          <p:grpSpPr>
            <a:xfrm>
              <a:off x="416925" y="2052888"/>
              <a:ext cx="1986097" cy="2061399"/>
              <a:chOff x="416925" y="1553368"/>
              <a:chExt cx="1986097" cy="2061399"/>
            </a:xfrm>
            <a:grpFill/>
          </p:grpSpPr>
          <p:sp>
            <p:nvSpPr>
              <p:cNvPr id="18" name="Rectangle 17"/>
              <p:cNvSpPr/>
              <p:nvPr/>
            </p:nvSpPr>
            <p:spPr bwMode="auto">
              <a:xfrm>
                <a:off x="416925" y="1553368"/>
                <a:ext cx="1986097" cy="2061399"/>
              </a:xfrm>
              <a:prstGeom prst="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68580" rIns="68580" bIns="10287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500" b="1" dirty="0">
                    <a:solidFill>
                      <a:schemeClr val="tx1"/>
                    </a:solidFill>
                    <a:latin typeface="+mj-lt"/>
                    <a:ea typeface="Segoe UI" pitchFamily="34" charset="0"/>
                    <a:cs typeface="Segoe UI" pitchFamily="34" charset="0"/>
                  </a:rPr>
                  <a:t>Time travel</a:t>
                </a:r>
              </a:p>
            </p:txBody>
          </p:sp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819510" y="1773637"/>
                <a:ext cx="1180927" cy="1180926"/>
              </a:xfrm>
              <a:prstGeom prst="rect">
                <a:avLst/>
              </a:prstGeom>
              <a:grpFill/>
            </p:spPr>
          </p:pic>
        </p:grpSp>
        <p:grpSp>
          <p:nvGrpSpPr>
            <p:cNvPr id="7" name="Group 6"/>
            <p:cNvGrpSpPr/>
            <p:nvPr/>
          </p:nvGrpSpPr>
          <p:grpSpPr>
            <a:xfrm>
              <a:off x="2483986" y="2052888"/>
              <a:ext cx="1986097" cy="2061399"/>
              <a:chOff x="3020243" y="1553368"/>
              <a:chExt cx="1986097" cy="2061399"/>
            </a:xfrm>
            <a:grpFill/>
          </p:grpSpPr>
          <p:sp>
            <p:nvSpPr>
              <p:cNvPr id="16" name="Rectangle 15"/>
              <p:cNvSpPr/>
              <p:nvPr/>
            </p:nvSpPr>
            <p:spPr bwMode="auto">
              <a:xfrm>
                <a:off x="3020243" y="1553368"/>
                <a:ext cx="1986097" cy="2061399"/>
              </a:xfrm>
              <a:prstGeom prst="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68580" rIns="68580" bIns="10287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500" b="1" dirty="0">
                    <a:solidFill>
                      <a:schemeClr val="tx1"/>
                    </a:solidFill>
                    <a:latin typeface="+mj-lt"/>
                    <a:ea typeface="Segoe UI" pitchFamily="34" charset="0"/>
                    <a:cs typeface="Segoe UI" pitchFamily="34" charset="0"/>
                  </a:rPr>
                  <a:t>Data audit</a:t>
                </a: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338218" y="1773637"/>
                <a:ext cx="1344713" cy="1179969"/>
              </a:xfrm>
              <a:prstGeom prst="rect">
                <a:avLst/>
              </a:prstGeom>
              <a:grpFill/>
            </p:spPr>
          </p:pic>
        </p:grpSp>
        <p:grpSp>
          <p:nvGrpSpPr>
            <p:cNvPr id="8" name="Group 7"/>
            <p:cNvGrpSpPr/>
            <p:nvPr/>
          </p:nvGrpSpPr>
          <p:grpSpPr>
            <a:xfrm>
              <a:off x="416925" y="4183038"/>
              <a:ext cx="1986097" cy="2061399"/>
              <a:chOff x="416925" y="4183038"/>
              <a:chExt cx="1986097" cy="2061399"/>
            </a:xfrm>
            <a:grpFill/>
          </p:grpSpPr>
          <p:sp>
            <p:nvSpPr>
              <p:cNvPr id="14" name="Rectangle 13"/>
              <p:cNvSpPr/>
              <p:nvPr/>
            </p:nvSpPr>
            <p:spPr bwMode="auto">
              <a:xfrm>
                <a:off x="416925" y="4183038"/>
                <a:ext cx="1986097" cy="2061399"/>
              </a:xfrm>
              <a:prstGeom prst="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68580" rIns="68580" bIns="10287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500" b="1" dirty="0">
                    <a:solidFill>
                      <a:schemeClr val="tx1"/>
                    </a:solidFill>
                    <a:latin typeface="+mj-lt"/>
                    <a:ea typeface="Segoe UI" pitchFamily="34" charset="0"/>
                    <a:cs typeface="Segoe UI" pitchFamily="34" charset="0"/>
                  </a:rPr>
                  <a:t>Slowly changing dimensions</a:t>
                </a:r>
              </a:p>
            </p:txBody>
          </p:sp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79026" y="4320539"/>
                <a:ext cx="1261893" cy="1168133"/>
              </a:xfrm>
              <a:prstGeom prst="rect">
                <a:avLst/>
              </a:prstGeom>
              <a:grpFill/>
            </p:spPr>
          </p:pic>
        </p:grpSp>
        <p:grpSp>
          <p:nvGrpSpPr>
            <p:cNvPr id="9" name="Group 8"/>
            <p:cNvGrpSpPr/>
            <p:nvPr/>
          </p:nvGrpSpPr>
          <p:grpSpPr>
            <a:xfrm>
              <a:off x="2525426" y="4183038"/>
              <a:ext cx="1986097" cy="2061399"/>
              <a:chOff x="3061683" y="4183038"/>
              <a:chExt cx="1986097" cy="2061399"/>
            </a:xfrm>
            <a:grpFill/>
          </p:grpSpPr>
          <p:sp>
            <p:nvSpPr>
              <p:cNvPr id="10" name="Rectangle 9"/>
              <p:cNvSpPr/>
              <p:nvPr/>
            </p:nvSpPr>
            <p:spPr bwMode="auto">
              <a:xfrm>
                <a:off x="3061683" y="4183038"/>
                <a:ext cx="1986097" cy="2061399"/>
              </a:xfrm>
              <a:prstGeom prst="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68580" rIns="68580" bIns="10287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9935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500" b="1" dirty="0">
                    <a:solidFill>
                      <a:schemeClr val="tx1"/>
                    </a:solidFill>
                    <a:latin typeface="+mj-lt"/>
                    <a:ea typeface="Segoe UI" pitchFamily="34" charset="0"/>
                    <a:cs typeface="Segoe UI" pitchFamily="34" charset="0"/>
                  </a:rPr>
                  <a:t>Repair record-level corruptions</a:t>
                </a:r>
              </a:p>
            </p:txBody>
          </p:sp>
          <p:grpSp>
            <p:nvGrpSpPr>
              <p:cNvPr id="11" name="Group 10"/>
              <p:cNvGrpSpPr/>
              <p:nvPr/>
            </p:nvGrpSpPr>
            <p:grpSpPr>
              <a:xfrm>
                <a:off x="3432403" y="4340274"/>
                <a:ext cx="1161777" cy="1148398"/>
                <a:chOff x="3358803" y="4580153"/>
                <a:chExt cx="1161777" cy="1148398"/>
              </a:xfrm>
              <a:grpFill/>
            </p:grpSpPr>
            <p:sp>
              <p:nvSpPr>
                <p:cNvPr id="12" name="Freeform 5"/>
                <p:cNvSpPr>
                  <a:spLocks noEditPoints="1"/>
                </p:cNvSpPr>
                <p:nvPr/>
              </p:nvSpPr>
              <p:spPr bwMode="auto">
                <a:xfrm rot="18900000">
                  <a:off x="3797186" y="4580153"/>
                  <a:ext cx="337830" cy="1148398"/>
                </a:xfrm>
                <a:custGeom>
                  <a:avLst/>
                  <a:gdLst>
                    <a:gd name="T0" fmla="*/ 55 w 73"/>
                    <a:gd name="T1" fmla="*/ 190 h 255"/>
                    <a:gd name="T2" fmla="*/ 55 w 73"/>
                    <a:gd name="T3" fmla="*/ 68 h 255"/>
                    <a:gd name="T4" fmla="*/ 73 w 73"/>
                    <a:gd name="T5" fmla="*/ 37 h 255"/>
                    <a:gd name="T6" fmla="*/ 36 w 73"/>
                    <a:gd name="T7" fmla="*/ 0 h 255"/>
                    <a:gd name="T8" fmla="*/ 0 w 73"/>
                    <a:gd name="T9" fmla="*/ 37 h 255"/>
                    <a:gd name="T10" fmla="*/ 18 w 73"/>
                    <a:gd name="T11" fmla="*/ 68 h 255"/>
                    <a:gd name="T12" fmla="*/ 18 w 73"/>
                    <a:gd name="T13" fmla="*/ 190 h 255"/>
                    <a:gd name="T14" fmla="*/ 0 w 73"/>
                    <a:gd name="T15" fmla="*/ 221 h 255"/>
                    <a:gd name="T16" fmla="*/ 22 w 73"/>
                    <a:gd name="T17" fmla="*/ 255 h 255"/>
                    <a:gd name="T18" fmla="*/ 22 w 73"/>
                    <a:gd name="T19" fmla="*/ 212 h 255"/>
                    <a:gd name="T20" fmla="*/ 50 w 73"/>
                    <a:gd name="T21" fmla="*/ 212 h 255"/>
                    <a:gd name="T22" fmla="*/ 50 w 73"/>
                    <a:gd name="T23" fmla="*/ 255 h 255"/>
                    <a:gd name="T24" fmla="*/ 73 w 73"/>
                    <a:gd name="T25" fmla="*/ 221 h 255"/>
                    <a:gd name="T26" fmla="*/ 55 w 73"/>
                    <a:gd name="T27" fmla="*/ 190 h 255"/>
                    <a:gd name="T28" fmla="*/ 26 w 73"/>
                    <a:gd name="T29" fmla="*/ 18 h 255"/>
                    <a:gd name="T30" fmla="*/ 47 w 73"/>
                    <a:gd name="T31" fmla="*/ 18 h 255"/>
                    <a:gd name="T32" fmla="*/ 58 w 73"/>
                    <a:gd name="T33" fmla="*/ 37 h 255"/>
                    <a:gd name="T34" fmla="*/ 47 w 73"/>
                    <a:gd name="T35" fmla="*/ 55 h 255"/>
                    <a:gd name="T36" fmla="*/ 26 w 73"/>
                    <a:gd name="T37" fmla="*/ 55 h 255"/>
                    <a:gd name="T38" fmla="*/ 15 w 73"/>
                    <a:gd name="T39" fmla="*/ 37 h 255"/>
                    <a:gd name="T40" fmla="*/ 26 w 73"/>
                    <a:gd name="T41" fmla="*/ 18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3" h="255">
                      <a:moveTo>
                        <a:pt x="55" y="190"/>
                      </a:move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66" y="62"/>
                        <a:pt x="73" y="50"/>
                        <a:pt x="73" y="37"/>
                      </a:cubicBezTo>
                      <a:cubicBezTo>
                        <a:pt x="73" y="17"/>
                        <a:pt x="57" y="0"/>
                        <a:pt x="36" y="0"/>
                      </a:cubicBezTo>
                      <a:cubicBezTo>
                        <a:pt x="16" y="0"/>
                        <a:pt x="0" y="17"/>
                        <a:pt x="0" y="37"/>
                      </a:cubicBezTo>
                      <a:cubicBezTo>
                        <a:pt x="0" y="50"/>
                        <a:pt x="7" y="62"/>
                        <a:pt x="18" y="68"/>
                      </a:cubicBezTo>
                      <a:cubicBezTo>
                        <a:pt x="18" y="190"/>
                        <a:pt x="18" y="190"/>
                        <a:pt x="18" y="190"/>
                      </a:cubicBezTo>
                      <a:cubicBezTo>
                        <a:pt x="7" y="196"/>
                        <a:pt x="0" y="208"/>
                        <a:pt x="0" y="221"/>
                      </a:cubicBezTo>
                      <a:cubicBezTo>
                        <a:pt x="0" y="237"/>
                        <a:pt x="9" y="250"/>
                        <a:pt x="22" y="255"/>
                      </a:cubicBezTo>
                      <a:cubicBezTo>
                        <a:pt x="22" y="212"/>
                        <a:pt x="22" y="212"/>
                        <a:pt x="22" y="212"/>
                      </a:cubicBezTo>
                      <a:cubicBezTo>
                        <a:pt x="50" y="212"/>
                        <a:pt x="50" y="212"/>
                        <a:pt x="50" y="212"/>
                      </a:cubicBezTo>
                      <a:cubicBezTo>
                        <a:pt x="50" y="255"/>
                        <a:pt x="50" y="255"/>
                        <a:pt x="50" y="255"/>
                      </a:cubicBezTo>
                      <a:cubicBezTo>
                        <a:pt x="64" y="250"/>
                        <a:pt x="73" y="237"/>
                        <a:pt x="73" y="221"/>
                      </a:cubicBezTo>
                      <a:cubicBezTo>
                        <a:pt x="73" y="208"/>
                        <a:pt x="66" y="196"/>
                        <a:pt x="55" y="190"/>
                      </a:cubicBezTo>
                      <a:close/>
                      <a:moveTo>
                        <a:pt x="26" y="18"/>
                      </a:moveTo>
                      <a:cubicBezTo>
                        <a:pt x="47" y="18"/>
                        <a:pt x="47" y="18"/>
                        <a:pt x="47" y="18"/>
                      </a:cubicBezTo>
                      <a:cubicBezTo>
                        <a:pt x="58" y="37"/>
                        <a:pt x="58" y="37"/>
                        <a:pt x="58" y="37"/>
                      </a:cubicBezTo>
                      <a:cubicBezTo>
                        <a:pt x="47" y="55"/>
                        <a:pt x="47" y="55"/>
                        <a:pt x="47" y="55"/>
                      </a:cubicBezTo>
                      <a:cubicBezTo>
                        <a:pt x="26" y="55"/>
                        <a:pt x="26" y="55"/>
                        <a:pt x="26" y="55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lnTo>
                        <a:pt x="26" y="18"/>
                      </a:lnTo>
                      <a:close/>
                    </a:path>
                  </a:pathLst>
                </a:custGeom>
                <a:solidFill>
                  <a:schemeClr val="bg2">
                    <a:lumMod val="10000"/>
                  </a:schemeClr>
                </a:solidFill>
                <a:ln>
                  <a:solidFill>
                    <a:schemeClr val="bg2">
                      <a:lumMod val="1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" name="Freeform 9"/>
                <p:cNvSpPr>
                  <a:spLocks/>
                </p:cNvSpPr>
                <p:nvPr/>
              </p:nvSpPr>
              <p:spPr bwMode="auto">
                <a:xfrm rot="2700000">
                  <a:off x="3772449" y="4569915"/>
                  <a:ext cx="334485" cy="1161777"/>
                </a:xfrm>
                <a:custGeom>
                  <a:avLst/>
                  <a:gdLst>
                    <a:gd name="T0" fmla="*/ 55 w 72"/>
                    <a:gd name="T1" fmla="*/ 194 h 258"/>
                    <a:gd name="T2" fmla="*/ 55 w 72"/>
                    <a:gd name="T3" fmla="*/ 65 h 258"/>
                    <a:gd name="T4" fmla="*/ 72 w 72"/>
                    <a:gd name="T5" fmla="*/ 34 h 258"/>
                    <a:gd name="T6" fmla="*/ 50 w 72"/>
                    <a:gd name="T7" fmla="*/ 0 h 258"/>
                    <a:gd name="T8" fmla="*/ 50 w 72"/>
                    <a:gd name="T9" fmla="*/ 40 h 258"/>
                    <a:gd name="T10" fmla="*/ 23 w 72"/>
                    <a:gd name="T11" fmla="*/ 40 h 258"/>
                    <a:gd name="T12" fmla="*/ 23 w 72"/>
                    <a:gd name="T13" fmla="*/ 0 h 258"/>
                    <a:gd name="T14" fmla="*/ 0 w 72"/>
                    <a:gd name="T15" fmla="*/ 34 h 258"/>
                    <a:gd name="T16" fmla="*/ 18 w 72"/>
                    <a:gd name="T17" fmla="*/ 65 h 258"/>
                    <a:gd name="T18" fmla="*/ 18 w 72"/>
                    <a:gd name="T19" fmla="*/ 194 h 258"/>
                    <a:gd name="T20" fmla="*/ 0 w 72"/>
                    <a:gd name="T21" fmla="*/ 225 h 258"/>
                    <a:gd name="T22" fmla="*/ 23 w 72"/>
                    <a:gd name="T23" fmla="*/ 258 h 258"/>
                    <a:gd name="T24" fmla="*/ 23 w 72"/>
                    <a:gd name="T25" fmla="*/ 218 h 258"/>
                    <a:gd name="T26" fmla="*/ 50 w 72"/>
                    <a:gd name="T27" fmla="*/ 218 h 258"/>
                    <a:gd name="T28" fmla="*/ 50 w 72"/>
                    <a:gd name="T29" fmla="*/ 258 h 258"/>
                    <a:gd name="T30" fmla="*/ 72 w 72"/>
                    <a:gd name="T31" fmla="*/ 225 h 258"/>
                    <a:gd name="T32" fmla="*/ 55 w 72"/>
                    <a:gd name="T33" fmla="*/ 194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72" h="258">
                      <a:moveTo>
                        <a:pt x="55" y="194"/>
                      </a:moveTo>
                      <a:cubicBezTo>
                        <a:pt x="55" y="65"/>
                        <a:pt x="55" y="65"/>
                        <a:pt x="55" y="65"/>
                      </a:cubicBezTo>
                      <a:cubicBezTo>
                        <a:pt x="65" y="59"/>
                        <a:pt x="72" y="47"/>
                        <a:pt x="72" y="34"/>
                      </a:cubicBezTo>
                      <a:cubicBezTo>
                        <a:pt x="72" y="19"/>
                        <a:pt x="63" y="6"/>
                        <a:pt x="50" y="0"/>
                      </a:cubicBezTo>
                      <a:cubicBezTo>
                        <a:pt x="50" y="40"/>
                        <a:pt x="50" y="40"/>
                        <a:pt x="50" y="40"/>
                      </a:cubicBezTo>
                      <a:cubicBezTo>
                        <a:pt x="23" y="40"/>
                        <a:pt x="23" y="40"/>
                        <a:pt x="23" y="4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10" y="6"/>
                        <a:pt x="0" y="19"/>
                        <a:pt x="0" y="34"/>
                      </a:cubicBezTo>
                      <a:cubicBezTo>
                        <a:pt x="0" y="47"/>
                        <a:pt x="7" y="59"/>
                        <a:pt x="18" y="65"/>
                      </a:cubicBezTo>
                      <a:cubicBezTo>
                        <a:pt x="18" y="194"/>
                        <a:pt x="18" y="194"/>
                        <a:pt x="18" y="194"/>
                      </a:cubicBezTo>
                      <a:cubicBezTo>
                        <a:pt x="7" y="200"/>
                        <a:pt x="0" y="211"/>
                        <a:pt x="0" y="225"/>
                      </a:cubicBezTo>
                      <a:cubicBezTo>
                        <a:pt x="0" y="240"/>
                        <a:pt x="10" y="253"/>
                        <a:pt x="23" y="258"/>
                      </a:cubicBezTo>
                      <a:cubicBezTo>
                        <a:pt x="23" y="218"/>
                        <a:pt x="23" y="218"/>
                        <a:pt x="23" y="218"/>
                      </a:cubicBezTo>
                      <a:cubicBezTo>
                        <a:pt x="50" y="218"/>
                        <a:pt x="50" y="218"/>
                        <a:pt x="50" y="218"/>
                      </a:cubicBezTo>
                      <a:cubicBezTo>
                        <a:pt x="50" y="258"/>
                        <a:pt x="50" y="258"/>
                        <a:pt x="50" y="258"/>
                      </a:cubicBezTo>
                      <a:cubicBezTo>
                        <a:pt x="63" y="253"/>
                        <a:pt x="72" y="240"/>
                        <a:pt x="72" y="225"/>
                      </a:cubicBezTo>
                      <a:cubicBezTo>
                        <a:pt x="72" y="211"/>
                        <a:pt x="65" y="200"/>
                        <a:pt x="55" y="194"/>
                      </a:cubicBezTo>
                      <a:close/>
                    </a:path>
                  </a:pathLst>
                </a:custGeom>
                <a:solidFill>
                  <a:schemeClr val="bg2">
                    <a:lumMod val="10000"/>
                  </a:schemeClr>
                </a:solidFill>
                <a:ln>
                  <a:solidFill>
                    <a:schemeClr val="bg2">
                      <a:lumMod val="1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</p:grpSp>
      </p:grpSp>
      <p:sp>
        <p:nvSpPr>
          <p:cNvPr id="20" name="TextBox 19"/>
          <p:cNvSpPr txBox="1"/>
          <p:nvPr/>
        </p:nvSpPr>
        <p:spPr>
          <a:xfrm>
            <a:off x="1" y="5838967"/>
            <a:ext cx="2854643" cy="264177"/>
          </a:xfrm>
          <a:prstGeom prst="rect">
            <a:avLst/>
          </a:prstGeom>
          <a:noFill/>
        </p:spPr>
        <p:txBody>
          <a:bodyPr wrap="square" lIns="274320" tIns="109728" rIns="137160" bIns="109728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05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erformance</a:t>
            </a:r>
          </a:p>
        </p:txBody>
      </p:sp>
    </p:spTree>
    <p:extLst>
      <p:ext uri="{BB962C8B-B14F-4D97-AF65-F5344CB8AC3E}">
        <p14:creationId xmlns:p14="http://schemas.microsoft.com/office/powerpoint/2010/main" val="1645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646237"/>
            <a:ext cx="8686800" cy="5211763"/>
          </a:xfrm>
        </p:spPr>
        <p:txBody>
          <a:bodyPr>
            <a:normAutofit/>
          </a:bodyPr>
          <a:lstStyle/>
          <a:p>
            <a:pPr lvl="0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Primary key must be present on the base table</a:t>
            </a:r>
          </a:p>
          <a:p>
            <a:pPr lvl="0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Turn on the SYSTEM_VERSIONING option on a table to make it temporal</a:t>
            </a:r>
          </a:p>
          <a:p>
            <a:pPr lvl="0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Add two non-</a:t>
            </a:r>
            <a:r>
              <a:rPr lang="en-US" sz="2800" dirty="0" err="1">
                <a:solidFill>
                  <a:schemeClr val="bg2">
                    <a:lumMod val="10000"/>
                  </a:schemeClr>
                </a:solidFill>
              </a:rPr>
              <a:t>nullable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 columns of type DATETIME2() that represents the start and the end od period when the row is valid</a:t>
            </a:r>
          </a:p>
          <a:p>
            <a:pPr lvl="1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A column that represents the start of the period must be marked as  GENERATED ALWAYS AS ROW START</a:t>
            </a:r>
          </a:p>
          <a:p>
            <a:pPr lvl="1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A column that represents the end of the period must be marked as GENERATED ALWAYS AS ROW END</a:t>
            </a:r>
          </a:p>
          <a:p>
            <a:endParaRPr lang="en-US" sz="28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start - remarks</a:t>
            </a:r>
          </a:p>
        </p:txBody>
      </p:sp>
    </p:spTree>
    <p:extLst>
      <p:ext uri="{BB962C8B-B14F-4D97-AF65-F5344CB8AC3E}">
        <p14:creationId xmlns:p14="http://schemas.microsoft.com/office/powerpoint/2010/main" val="307995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293225"/>
            <a:ext cx="8686800" cy="5211763"/>
          </a:xfrm>
        </p:spPr>
        <p:txBody>
          <a:bodyPr>
            <a:normAutofit/>
          </a:bodyPr>
          <a:lstStyle/>
          <a:p>
            <a:pPr lvl="0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Add a statement at the table level for setting up the per: PERIOD FOR SYSTEM_TIME (&lt;</a:t>
            </a:r>
            <a:r>
              <a:rPr lang="en-US" sz="2800" dirty="0" err="1">
                <a:solidFill>
                  <a:schemeClr val="bg2">
                    <a:lumMod val="10000"/>
                  </a:schemeClr>
                </a:solidFill>
              </a:rPr>
              <a:t>startcol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&gt;, &lt;</a:t>
            </a:r>
            <a:r>
              <a:rPr lang="en-US" sz="2800" dirty="0" err="1">
                <a:solidFill>
                  <a:schemeClr val="bg2">
                    <a:lumMod val="10000"/>
                  </a:schemeClr>
                </a:solidFill>
              </a:rPr>
              <a:t>endcol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&gt;)</a:t>
            </a:r>
          </a:p>
          <a:p>
            <a:pPr lvl="0"/>
            <a:r>
              <a:rPr lang="en-US" sz="2800" dirty="0" smtClean="0">
                <a:solidFill>
                  <a:schemeClr val="bg2">
                    <a:lumMod val="10000"/>
                  </a:schemeClr>
                </a:solidFill>
              </a:rPr>
              <a:t>The 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historical table can be created</a:t>
            </a:r>
            <a:r>
              <a:rPr lang="pl-PL" sz="2800" dirty="0">
                <a:solidFill>
                  <a:schemeClr val="bg2">
                    <a:lumMod val="10000"/>
                  </a:schemeClr>
                </a:solidFill>
              </a:rPr>
              <a:t>:</a:t>
            </a:r>
          </a:p>
          <a:p>
            <a:pPr lvl="1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By the </a:t>
            </a:r>
            <a:r>
              <a:rPr lang="pl-PL" sz="2800" dirty="0">
                <a:solidFill>
                  <a:schemeClr val="bg2">
                    <a:lumMod val="10000"/>
                  </a:schemeClr>
                </a:solidFill>
              </a:rPr>
              <a:t>SQL Server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 </a:t>
            </a:r>
            <a:endParaRPr lang="pl-PL" sz="2800" dirty="0" smtClean="0">
              <a:solidFill>
                <a:schemeClr val="bg2">
                  <a:lumMod val="10000"/>
                </a:schemeClr>
              </a:solidFill>
            </a:endParaRPr>
          </a:p>
          <a:p>
            <a:pPr lvl="1"/>
            <a:r>
              <a:rPr lang="en-US" sz="2800" dirty="0" smtClean="0">
                <a:solidFill>
                  <a:schemeClr val="bg2">
                    <a:lumMod val="10000"/>
                  </a:schemeClr>
                </a:solidFill>
              </a:rPr>
              <a:t>By 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the user</a:t>
            </a: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In </a:t>
            </a:r>
            <a:r>
              <a:rPr lang="pl-PL" sz="2800" dirty="0" err="1" smtClean="0">
                <a:solidFill>
                  <a:schemeClr val="bg2">
                    <a:lumMod val="10000"/>
                  </a:schemeClr>
                </a:solidFill>
              </a:rPr>
              <a:t>both</a:t>
            </a:r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pl-PL" sz="2800" dirty="0" err="1" smtClean="0">
                <a:solidFill>
                  <a:schemeClr val="bg2">
                    <a:lumMod val="10000"/>
                  </a:schemeClr>
                </a:solidFill>
              </a:rPr>
              <a:t>cases</a:t>
            </a:r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 the </a:t>
            </a:r>
            <a:r>
              <a:rPr lang="pl-PL" sz="2800" dirty="0" err="1" smtClean="0">
                <a:solidFill>
                  <a:schemeClr val="bg2">
                    <a:lumMod val="10000"/>
                  </a:schemeClr>
                </a:solidFill>
              </a:rPr>
              <a:t>historical</a:t>
            </a:r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pl-PL" sz="2800" dirty="0" err="1" smtClean="0">
                <a:solidFill>
                  <a:schemeClr val="bg2">
                    <a:lumMod val="10000"/>
                  </a:schemeClr>
                </a:solidFill>
              </a:rPr>
              <a:t>table</a:t>
            </a:r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pl-PL" sz="2800" dirty="0" err="1" smtClean="0">
                <a:solidFill>
                  <a:schemeClr val="bg2">
                    <a:lumMod val="10000"/>
                  </a:schemeClr>
                </a:solidFill>
              </a:rPr>
              <a:t>will</a:t>
            </a:r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 be PAGE </a:t>
            </a:r>
            <a:r>
              <a:rPr lang="pl-PL" sz="2800" dirty="0" err="1" smtClean="0">
                <a:solidFill>
                  <a:schemeClr val="bg2">
                    <a:lumMod val="10000"/>
                  </a:schemeClr>
                </a:solidFill>
              </a:rPr>
              <a:t>compressed</a:t>
            </a:r>
            <a:endParaRPr lang="en-US" sz="28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start – remarks - cont.</a:t>
            </a:r>
          </a:p>
        </p:txBody>
      </p:sp>
    </p:spTree>
    <p:extLst>
      <p:ext uri="{BB962C8B-B14F-4D97-AF65-F5344CB8AC3E}">
        <p14:creationId xmlns:p14="http://schemas.microsoft.com/office/powerpoint/2010/main" val="2591888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start – remarks - cont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28600" y="1646237"/>
            <a:ext cx="8686800" cy="5211763"/>
          </a:xfrm>
        </p:spPr>
        <p:txBody>
          <a:bodyPr/>
          <a:lstStyle/>
          <a:p>
            <a:pPr lvl="0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The base table can be partitioned </a:t>
            </a: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pPr lvl="1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The partition schema &amp; function will not be moved to the historical table  </a:t>
            </a: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sz="2800" dirty="0" smtClean="0">
                <a:solidFill>
                  <a:schemeClr val="bg2">
                    <a:lumMod val="10000"/>
                  </a:schemeClr>
                </a:solidFill>
              </a:rPr>
              <a:t>Both 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base table and the historical table must be in the same database  </a:t>
            </a: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sz="2800" dirty="0" smtClean="0">
                <a:solidFill>
                  <a:schemeClr val="bg2">
                    <a:lumMod val="10000"/>
                  </a:schemeClr>
                </a:solidFill>
              </a:rPr>
              <a:t>The historical table cannot have </a:t>
            </a:r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PK, FK </a:t>
            </a:r>
            <a:r>
              <a:rPr lang="en-US" sz="2800" dirty="0" smtClean="0">
                <a:solidFill>
                  <a:schemeClr val="bg2">
                    <a:lumMod val="10000"/>
                  </a:schemeClr>
                </a:solidFill>
              </a:rPr>
              <a:t>or any other constraints</a:t>
            </a:r>
            <a:endParaRPr lang="pl-PL" sz="2800" dirty="0" smtClean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pl-PL" sz="2800" dirty="0" err="1" smtClean="0">
                <a:solidFill>
                  <a:schemeClr val="bg2">
                    <a:lumMod val="10000"/>
                  </a:schemeClr>
                </a:solidFill>
              </a:rPr>
              <a:t>Indexed</a:t>
            </a:r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pl-PL" sz="2800" dirty="0" err="1" smtClean="0">
                <a:solidFill>
                  <a:schemeClr val="bg2">
                    <a:lumMod val="10000"/>
                  </a:schemeClr>
                </a:solidFill>
              </a:rPr>
              <a:t>views</a:t>
            </a:r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pl-PL" sz="2800" dirty="0" err="1" smtClean="0">
                <a:solidFill>
                  <a:schemeClr val="bg2">
                    <a:lumMod val="10000"/>
                  </a:schemeClr>
                </a:solidFill>
              </a:rPr>
              <a:t>are</a:t>
            </a:r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 not </a:t>
            </a:r>
            <a:r>
              <a:rPr lang="pl-PL" sz="2800" dirty="0" err="1" smtClean="0">
                <a:solidFill>
                  <a:schemeClr val="bg2">
                    <a:lumMod val="10000"/>
                  </a:schemeClr>
                </a:solidFill>
              </a:rPr>
              <a:t>supported</a:t>
            </a:r>
            <a:endParaRPr lang="en-US" sz="2800" dirty="0" smtClean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28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264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646237"/>
            <a:ext cx="8686800" cy="5211763"/>
          </a:xfrm>
        </p:spPr>
        <p:txBody>
          <a:bodyPr>
            <a:normAutofit/>
          </a:bodyPr>
          <a:lstStyle/>
          <a:p>
            <a:pPr lvl="0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The DML operations cannot affect the columns that store the period information </a:t>
            </a:r>
          </a:p>
          <a:p>
            <a:pPr lvl="1"/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True if the </a:t>
            </a:r>
            <a:r>
              <a:rPr lang="pl-PL" sz="2800" dirty="0">
                <a:solidFill>
                  <a:schemeClr val="bg2">
                    <a:lumMod val="10000"/>
                  </a:schemeClr>
                </a:solidFill>
              </a:rPr>
              <a:t>SYSTEM_VERSIONING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 is turned on </a:t>
            </a: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pPr lvl="0"/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TRUNCATE TABLE </a:t>
            </a:r>
            <a:r>
              <a:rPr lang="en-US" sz="2800" dirty="0" smtClean="0">
                <a:solidFill>
                  <a:schemeClr val="bg2">
                    <a:lumMod val="10000"/>
                  </a:schemeClr>
                </a:solidFill>
              </a:rPr>
              <a:t>will not work with the </a:t>
            </a:r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SYSTEM_VERSIONING</a:t>
            </a:r>
            <a:r>
              <a:rPr lang="en-US" sz="2800" dirty="0" smtClean="0">
                <a:solidFill>
                  <a:schemeClr val="bg2">
                    <a:lumMod val="10000"/>
                  </a:schemeClr>
                </a:solidFill>
              </a:rPr>
              <a:t> option turned on</a:t>
            </a:r>
            <a:endParaRPr lang="pl-PL" sz="2800" dirty="0" smtClean="0">
              <a:solidFill>
                <a:schemeClr val="bg2">
                  <a:lumMod val="10000"/>
                </a:schemeClr>
              </a:solidFill>
            </a:endParaRPr>
          </a:p>
          <a:p>
            <a:pPr lvl="0"/>
            <a:r>
              <a:rPr lang="en-US" sz="2800" dirty="0" smtClean="0">
                <a:solidFill>
                  <a:schemeClr val="bg2">
                    <a:lumMod val="10000"/>
                  </a:schemeClr>
                </a:solidFill>
              </a:rPr>
              <a:t>The 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DML cannot be done on the historical table </a:t>
            </a: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pl-PL" sz="2800" dirty="0" smtClean="0">
                <a:solidFill>
                  <a:schemeClr val="bg2">
                    <a:lumMod val="10000"/>
                  </a:schemeClr>
                </a:solidFill>
              </a:rPr>
              <a:t>DBCC </a:t>
            </a:r>
            <a:r>
              <a:rPr lang="pl-PL" sz="2800" dirty="0">
                <a:solidFill>
                  <a:schemeClr val="bg2">
                    <a:lumMod val="10000"/>
                  </a:schemeClr>
                </a:solidFill>
              </a:rPr>
              <a:t>CHECKCONSTRAINTS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</a:rPr>
              <a:t> works little bit </a:t>
            </a:r>
            <a:r>
              <a:rPr lang="en-US" sz="2800" dirty="0" smtClean="0">
                <a:solidFill>
                  <a:schemeClr val="bg2">
                    <a:lumMod val="10000"/>
                  </a:schemeClr>
                </a:solidFill>
              </a:rPr>
              <a:t>different</a:t>
            </a:r>
            <a:endParaRPr lang="pl-PL" sz="280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buNone/>
            </a:pPr>
            <a:r>
              <a:rPr lang="pl-PL" sz="2800" dirty="0">
                <a:solidFill>
                  <a:schemeClr val="bg2">
                    <a:lumMod val="10000"/>
                  </a:schemeClr>
                </a:solidFill>
                <a:hlinkClick r:id="rId2"/>
              </a:rPr>
              <a:t>https://msdn.microsoft.com/en-us/library/ms189496.aspx</a:t>
            </a:r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pPr lvl="0"/>
            <a:endParaRPr lang="pl-PL" sz="2800" dirty="0">
              <a:solidFill>
                <a:schemeClr val="bg2">
                  <a:lumMod val="10000"/>
                </a:schemeClr>
              </a:solidFill>
            </a:endParaRPr>
          </a:p>
          <a:p>
            <a:pPr lvl="0"/>
            <a:endParaRPr lang="en-US" sz="2800" dirty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28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start – remarks - cont.</a:t>
            </a:r>
          </a:p>
        </p:txBody>
      </p:sp>
    </p:spTree>
    <p:extLst>
      <p:ext uri="{BB962C8B-B14F-4D97-AF65-F5344CB8AC3E}">
        <p14:creationId xmlns:p14="http://schemas.microsoft.com/office/powerpoint/2010/main" val="277920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183756" y="2162529"/>
            <a:ext cx="702457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4800" dirty="0"/>
              <a:t>Podróże w czasie z SQL Server 2016 dla każdego</a:t>
            </a:r>
            <a:endParaRPr lang="pl-PL" sz="48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91879" y="5055137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l-PL" dirty="0">
                <a:solidFill>
                  <a:schemeClr val="bg2">
                    <a:lumMod val="10000"/>
                  </a:schemeClr>
                </a:solidFill>
              </a:rPr>
              <a:t>Damian Widera</a:t>
            </a:r>
          </a:p>
          <a:p>
            <a:r>
              <a:rPr lang="pl-PL" dirty="0">
                <a:solidFill>
                  <a:schemeClr val="bg2">
                    <a:lumMod val="10000"/>
                  </a:schemeClr>
                </a:solidFill>
              </a:rPr>
              <a:t>damian.widera@euvic.pl</a:t>
            </a:r>
          </a:p>
        </p:txBody>
      </p:sp>
      <p:sp>
        <p:nvSpPr>
          <p:cNvPr id="2" name="Rectangle 1"/>
          <p:cNvSpPr/>
          <p:nvPr/>
        </p:nvSpPr>
        <p:spPr>
          <a:xfrm>
            <a:off x="2050868" y="1316389"/>
            <a:ext cx="74768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3600" dirty="0"/>
              <a:t>https://goo.gl/Kfz8RH</a:t>
            </a:r>
            <a:endParaRPr lang="pl-PL" sz="36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3490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start with temporal</a:t>
            </a:r>
            <a:endParaRPr lang="pl-PL" dirty="0"/>
          </a:p>
        </p:txBody>
      </p:sp>
      <p:grpSp>
        <p:nvGrpSpPr>
          <p:cNvPr id="31" name="Group 30"/>
          <p:cNvGrpSpPr/>
          <p:nvPr/>
        </p:nvGrpSpPr>
        <p:grpSpPr>
          <a:xfrm>
            <a:off x="2511368" y="1371600"/>
            <a:ext cx="4044042" cy="729077"/>
            <a:chOff x="3560309" y="1348196"/>
            <a:chExt cx="5392056" cy="972102"/>
          </a:xfrm>
        </p:grpSpPr>
        <p:sp>
          <p:nvSpPr>
            <p:cNvPr id="32" name="Left Brace 31"/>
            <p:cNvSpPr/>
            <p:nvPr/>
          </p:nvSpPr>
          <p:spPr>
            <a:xfrm rot="5400000">
              <a:off x="6102413" y="-529654"/>
              <a:ext cx="307848" cy="5392056"/>
            </a:xfrm>
            <a:prstGeom prst="leftBrace">
              <a:avLst>
                <a:gd name="adj1" fmla="val 68260"/>
                <a:gd name="adj2" fmla="val 50000"/>
              </a:avLst>
            </a:prstGeom>
            <a:ln w="19050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60310" y="1348196"/>
              <a:ext cx="5392055" cy="627864"/>
            </a:xfrm>
            <a:prstGeom prst="rect">
              <a:avLst/>
            </a:prstGeom>
            <a:noFill/>
          </p:spPr>
          <p:txBody>
            <a:bodyPr wrap="square" lIns="137160" tIns="109728" rIns="137160" bIns="109728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50"/>
                </a:spcAft>
              </a:pPr>
              <a:r>
                <a:rPr lang="en-US" sz="1350" b="1" dirty="0">
                  <a:latin typeface="+mj-lt"/>
                </a:rPr>
                <a:t>N</a:t>
              </a:r>
              <a:r>
                <a:rPr lang="en-US" b="1" dirty="0">
                  <a:latin typeface="+mj-lt"/>
                </a:rPr>
                <a:t>o change in programming model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6824074" y="1371600"/>
            <a:ext cx="1812522" cy="729077"/>
            <a:chOff x="9310583" y="1348196"/>
            <a:chExt cx="2416696" cy="972102"/>
          </a:xfrm>
        </p:grpSpPr>
        <p:sp>
          <p:nvSpPr>
            <p:cNvPr id="35" name="Left Brace 34"/>
            <p:cNvSpPr/>
            <p:nvPr/>
          </p:nvSpPr>
          <p:spPr>
            <a:xfrm rot="5400000">
              <a:off x="10370293" y="1039595"/>
              <a:ext cx="307848" cy="2253557"/>
            </a:xfrm>
            <a:prstGeom prst="leftBrace">
              <a:avLst>
                <a:gd name="adj1" fmla="val 68260"/>
                <a:gd name="adj2" fmla="val 50000"/>
              </a:avLst>
            </a:prstGeom>
            <a:ln w="19050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9310583" y="1348196"/>
              <a:ext cx="2416696" cy="544764"/>
            </a:xfrm>
            <a:prstGeom prst="rect">
              <a:avLst/>
            </a:prstGeom>
            <a:noFill/>
          </p:spPr>
          <p:txBody>
            <a:bodyPr wrap="square" lIns="137160" tIns="109728" rIns="137160" bIns="109728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50"/>
                </a:spcAft>
              </a:pPr>
              <a:r>
                <a:rPr lang="en-US" sz="1350" b="1" dirty="0">
                  <a:latin typeface="+mj-lt"/>
                </a:rPr>
                <a:t>New Insights</a:t>
              </a:r>
              <a:endParaRPr lang="en-US" b="1" dirty="0">
                <a:latin typeface="+mj-lt"/>
              </a:endParaRPr>
            </a:p>
          </p:txBody>
        </p:sp>
      </p:grpSp>
      <p:sp>
        <p:nvSpPr>
          <p:cNvPr id="37" name="Rectangle 36"/>
          <p:cNvSpPr/>
          <p:nvPr/>
        </p:nvSpPr>
        <p:spPr bwMode="auto">
          <a:xfrm>
            <a:off x="-158863" y="2111240"/>
            <a:ext cx="9327356" cy="3214899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57175" indent="-257175" algn="ctr" defTabSz="69935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Wingdings 3" panose="05040102010807070707" pitchFamily="18" charset="2"/>
              <a:buChar char="Æ"/>
            </a:pPr>
            <a:endParaRPr lang="en-US" sz="1500" b="1" dirty="0" err="1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Shape 37"/>
          <p:cNvSpPr/>
          <p:nvPr/>
        </p:nvSpPr>
        <p:spPr>
          <a:xfrm>
            <a:off x="1303645" y="3381899"/>
            <a:ext cx="1944240" cy="1944240"/>
          </a:xfrm>
          <a:prstGeom prst="leftCircularArrow">
            <a:avLst>
              <a:gd name="adj1" fmla="val 3520"/>
              <a:gd name="adj2" fmla="val 436934"/>
              <a:gd name="adj3" fmla="val 2212444"/>
              <a:gd name="adj4" fmla="val 9603960"/>
              <a:gd name="adj5" fmla="val 4106"/>
            </a:avLst>
          </a:pr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9" name="Circular Arrow 38"/>
          <p:cNvSpPr/>
          <p:nvPr/>
        </p:nvSpPr>
        <p:spPr>
          <a:xfrm>
            <a:off x="3420218" y="2090113"/>
            <a:ext cx="2161219" cy="2161219"/>
          </a:xfrm>
          <a:prstGeom prst="circularArrow">
            <a:avLst>
              <a:gd name="adj1" fmla="val 3166"/>
              <a:gd name="adj2" fmla="val 389782"/>
              <a:gd name="adj3" fmla="val 19434707"/>
              <a:gd name="adj4" fmla="val 12266607"/>
              <a:gd name="adj5" fmla="val 3694"/>
            </a:avLst>
          </a:pr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Shape 39"/>
          <p:cNvSpPr/>
          <p:nvPr/>
        </p:nvSpPr>
        <p:spPr>
          <a:xfrm>
            <a:off x="5750356" y="3382910"/>
            <a:ext cx="1944240" cy="1944240"/>
          </a:xfrm>
          <a:prstGeom prst="leftCircularArrow">
            <a:avLst>
              <a:gd name="adj1" fmla="val 3520"/>
              <a:gd name="adj2" fmla="val 436934"/>
              <a:gd name="adj3" fmla="val 2212444"/>
              <a:gd name="adj4" fmla="val 9498639"/>
              <a:gd name="adj5" fmla="val 4106"/>
            </a:avLst>
          </a:pr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1" name="Rectangle 40"/>
          <p:cNvSpPr/>
          <p:nvPr/>
        </p:nvSpPr>
        <p:spPr>
          <a:xfrm>
            <a:off x="238502" y="1802690"/>
            <a:ext cx="8534400" cy="3742858"/>
          </a:xfrm>
          <a:prstGeom prst="rect">
            <a:avLst/>
          </a:prstGeom>
          <a:ln>
            <a:noFill/>
          </a:ln>
        </p:spPr>
      </p:sp>
      <p:grpSp>
        <p:nvGrpSpPr>
          <p:cNvPr id="42" name="Group 41"/>
          <p:cNvGrpSpPr/>
          <p:nvPr/>
        </p:nvGrpSpPr>
        <p:grpSpPr>
          <a:xfrm>
            <a:off x="2455988" y="2673708"/>
            <a:ext cx="1886775" cy="2107692"/>
            <a:chOff x="3486469" y="3020943"/>
            <a:chExt cx="2515700" cy="2810256"/>
          </a:xfrm>
        </p:grpSpPr>
        <p:sp>
          <p:nvSpPr>
            <p:cNvPr id="43" name="Rectangle 42"/>
            <p:cNvSpPr/>
            <p:nvPr/>
          </p:nvSpPr>
          <p:spPr>
            <a:xfrm>
              <a:off x="3486472" y="3421106"/>
              <a:ext cx="2515697" cy="2410093"/>
            </a:xfrm>
            <a:prstGeom prst="rect">
              <a:avLst/>
            </a:prstGeom>
            <a:ln w="19050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7160" tIns="137160" rIns="137160" bIns="137160" numCol="1" spcCol="1270" anchor="b" anchorCtr="0">
              <a:noAutofit/>
            </a:bodyPr>
            <a:lstStyle/>
            <a:p>
              <a:pPr marL="0" lvl="1" defTabSz="500063">
                <a:spcBef>
                  <a:spcPts val="1500"/>
                </a:spcBef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INSERT / BULK INSERT</a:t>
              </a:r>
            </a:p>
            <a:p>
              <a:pPr marL="0" lvl="1" defTabSz="500063">
                <a:spcBef>
                  <a:spcPts val="1500"/>
                </a:spcBef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UPDATE</a:t>
              </a:r>
            </a:p>
            <a:p>
              <a:pPr marL="0" lvl="1" defTabSz="500063">
                <a:spcBef>
                  <a:spcPts val="1500"/>
                </a:spcBef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DELETE</a:t>
              </a:r>
            </a:p>
            <a:p>
              <a:pPr marL="0" lvl="1" defTabSz="500063">
                <a:spcBef>
                  <a:spcPts val="1500"/>
                </a:spcBef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MERGE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486469" y="3020943"/>
              <a:ext cx="2515699" cy="800328"/>
            </a:xfrm>
            <a:prstGeom prst="rect">
              <a:avLst/>
            </a:prstGeom>
            <a:solidFill>
              <a:srgbClr val="616161"/>
            </a:solidFill>
            <a:ln w="19050">
              <a:miter lim="800000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4727" tIns="35678" rIns="44727" bIns="35678" numCol="1" spcCol="1270" anchor="ctr" anchorCtr="0">
              <a:noAutofit/>
            </a:bodyPr>
            <a:lstStyle/>
            <a:p>
              <a:pPr algn="ctr" defTabSz="63341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50" b="1" dirty="0">
                  <a:solidFill>
                    <a:schemeClr val="bg2">
                      <a:lumMod val="10000"/>
                    </a:schemeClr>
                  </a:solidFill>
                </a:rPr>
                <a:t>DML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672769" y="2692963"/>
            <a:ext cx="1882642" cy="2088438"/>
            <a:chOff x="6442176" y="3046616"/>
            <a:chExt cx="2510189" cy="2784584"/>
          </a:xfrm>
        </p:grpSpPr>
        <p:sp>
          <p:nvSpPr>
            <p:cNvPr id="46" name="Rectangle 45"/>
            <p:cNvSpPr/>
            <p:nvPr/>
          </p:nvSpPr>
          <p:spPr>
            <a:xfrm>
              <a:off x="6442176" y="3046616"/>
              <a:ext cx="2510189" cy="2784583"/>
            </a:xfrm>
            <a:prstGeom prst="rect">
              <a:avLst/>
            </a:prstGeom>
            <a:ln w="19050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7160" tIns="137160" rIns="137160" bIns="205740" numCol="1" spcCol="1270" anchor="t" anchorCtr="0">
              <a:noAutofit/>
            </a:bodyPr>
            <a:lstStyle/>
            <a:p>
              <a:pPr marL="0" lvl="1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SELECT * FROM </a:t>
              </a:r>
              <a:r>
                <a:rPr lang="en-US" sz="1125" b="1" i="1" dirty="0">
                  <a:solidFill>
                    <a:schemeClr val="bg2">
                      <a:lumMod val="10000"/>
                    </a:schemeClr>
                  </a:solidFill>
                </a:rPr>
                <a:t>temporal</a:t>
              </a:r>
            </a:p>
            <a:p>
              <a:pPr marL="85725" lvl="1" indent="-85725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112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6442178" y="5030872"/>
              <a:ext cx="2510187" cy="800328"/>
            </a:xfrm>
            <a:prstGeom prst="rect">
              <a:avLst/>
            </a:prstGeom>
            <a:solidFill>
              <a:srgbClr val="616161"/>
            </a:solidFill>
            <a:ln w="19050">
              <a:miter lim="800000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4727" tIns="35678" rIns="44727" bIns="35678" numCol="1" spcCol="1270" anchor="ctr" anchorCtr="0">
              <a:noAutofit/>
            </a:bodyPr>
            <a:lstStyle/>
            <a:p>
              <a:pPr algn="ctr" defTabSz="63341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50" b="1" dirty="0">
                  <a:solidFill>
                    <a:schemeClr val="bg2">
                      <a:lumMod val="10000"/>
                    </a:schemeClr>
                  </a:solidFill>
                </a:rPr>
                <a:t>Querying</a:t>
              </a: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14907" y="2673708"/>
            <a:ext cx="1902850" cy="2171837"/>
            <a:chOff x="529821" y="3020943"/>
            <a:chExt cx="2537133" cy="2895782"/>
          </a:xfrm>
        </p:grpSpPr>
        <p:sp>
          <p:nvSpPr>
            <p:cNvPr id="49" name="Rectangle 48"/>
            <p:cNvSpPr/>
            <p:nvPr/>
          </p:nvSpPr>
          <p:spPr>
            <a:xfrm>
              <a:off x="536275" y="3020943"/>
              <a:ext cx="2264128" cy="2393531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7160" tIns="137160" rIns="137160" bIns="480060" numCol="1" spcCol="1270" anchor="t" anchorCtr="0">
              <a:noAutofit/>
            </a:bodyPr>
            <a:lstStyle/>
            <a:p>
              <a:pPr marL="0" lvl="1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CREATE</a:t>
              </a:r>
              <a:r>
                <a:rPr lang="en-US" sz="1125" dirty="0">
                  <a:solidFill>
                    <a:schemeClr val="bg2">
                      <a:lumMod val="10000"/>
                    </a:schemeClr>
                  </a:solidFill>
                </a:rPr>
                <a:t> </a:t>
              </a:r>
              <a:r>
                <a:rPr lang="en-US" sz="1125" i="1" dirty="0">
                  <a:solidFill>
                    <a:schemeClr val="bg2">
                      <a:lumMod val="10000"/>
                    </a:schemeClr>
                  </a:solidFill>
                </a:rPr>
                <a:t>temporal</a:t>
              </a:r>
              <a:r>
                <a:rPr lang="en-US" sz="1125" dirty="0">
                  <a:solidFill>
                    <a:schemeClr val="bg2">
                      <a:lumMod val="10000"/>
                    </a:schemeClr>
                  </a:solidFill>
                </a:rPr>
                <a:t> </a:t>
              </a: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TABLE PERIOD FOR SYSTEM_TIME…</a:t>
              </a:r>
            </a:p>
            <a:p>
              <a:pPr marL="0" lvl="1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125" b="1" dirty="0">
                <a:solidFill>
                  <a:schemeClr val="bg2">
                    <a:lumMod val="10000"/>
                  </a:schemeClr>
                </a:solidFill>
              </a:endParaRPr>
            </a:p>
            <a:p>
              <a:pPr marL="0" lvl="1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ALTER </a:t>
              </a:r>
              <a:r>
                <a:rPr lang="en-US" sz="1125" i="1" dirty="0">
                  <a:solidFill>
                    <a:schemeClr val="bg2">
                      <a:lumMod val="10000"/>
                    </a:schemeClr>
                  </a:solidFill>
                </a:rPr>
                <a:t>regular_table </a:t>
              </a: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TABLE</a:t>
              </a:r>
              <a:r>
                <a:rPr lang="en-US" sz="1125" dirty="0">
                  <a:solidFill>
                    <a:schemeClr val="bg2">
                      <a:lumMod val="10000"/>
                    </a:schemeClr>
                  </a:solidFill>
                </a:rPr>
                <a:t> </a:t>
              </a: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ADD PERIOD…</a:t>
              </a:r>
              <a:endParaRPr lang="en-US" sz="1125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529821" y="5030872"/>
              <a:ext cx="2270582" cy="800328"/>
            </a:xfrm>
            <a:prstGeom prst="rect">
              <a:avLst/>
            </a:prstGeom>
            <a:solidFill>
              <a:srgbClr val="616161"/>
            </a:solidFill>
            <a:ln w="19050">
              <a:miter lim="800000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8580" tIns="35678" rIns="411480" bIns="35678" numCol="1" spcCol="1270" anchor="ctr" anchorCtr="0">
              <a:noAutofit/>
            </a:bodyPr>
            <a:lstStyle/>
            <a:p>
              <a:pPr algn="ctr" defTabSz="63341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50" b="1" dirty="0">
                  <a:solidFill>
                    <a:schemeClr val="bg2">
                      <a:lumMod val="10000"/>
                    </a:schemeClr>
                  </a:solidFill>
                </a:rPr>
                <a:t>DDL</a:t>
              </a:r>
            </a:p>
          </p:txBody>
        </p:sp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95133" y="4945347"/>
              <a:ext cx="971821" cy="971378"/>
            </a:xfrm>
            <a:prstGeom prst="rect">
              <a:avLst/>
            </a:prstGeom>
          </p:spPr>
        </p:pic>
      </p:grpSp>
      <p:grpSp>
        <p:nvGrpSpPr>
          <p:cNvPr id="52" name="Group 51"/>
          <p:cNvGrpSpPr/>
          <p:nvPr/>
        </p:nvGrpSpPr>
        <p:grpSpPr>
          <a:xfrm>
            <a:off x="6881286" y="2607040"/>
            <a:ext cx="1912823" cy="2174360"/>
            <a:chOff x="9386866" y="2932053"/>
            <a:chExt cx="2550430" cy="2899146"/>
          </a:xfrm>
        </p:grpSpPr>
        <p:sp>
          <p:nvSpPr>
            <p:cNvPr id="53" name="Rectangle 52"/>
            <p:cNvSpPr/>
            <p:nvPr/>
          </p:nvSpPr>
          <p:spPr>
            <a:xfrm>
              <a:off x="9386867" y="3020943"/>
              <a:ext cx="2264128" cy="2810256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7160" tIns="137160" rIns="137160" bIns="480060" numCol="1" spcCol="1270" anchor="t" anchorCtr="0">
              <a:noAutofit/>
            </a:bodyPr>
            <a:lstStyle/>
            <a:p>
              <a:pPr marL="0" lvl="1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125" dirty="0">
                <a:solidFill>
                  <a:schemeClr val="bg2">
                    <a:lumMod val="10000"/>
                  </a:schemeClr>
                </a:solidFill>
              </a:endParaRPr>
            </a:p>
            <a:p>
              <a:pPr marL="0" lvl="1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125" dirty="0">
                <a:solidFill>
                  <a:schemeClr val="bg2">
                    <a:lumMod val="10000"/>
                  </a:schemeClr>
                </a:solidFill>
              </a:endParaRPr>
            </a:p>
            <a:p>
              <a:pPr marL="0" lvl="1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125" dirty="0">
                <a:solidFill>
                  <a:schemeClr val="bg2">
                    <a:lumMod val="10000"/>
                  </a:schemeClr>
                </a:solidFill>
              </a:endParaRPr>
            </a:p>
            <a:p>
              <a:pPr marL="0" lvl="1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1125" dirty="0">
                <a:solidFill>
                  <a:schemeClr val="bg2">
                    <a:lumMod val="10000"/>
                  </a:schemeClr>
                </a:solidFill>
              </a:endParaRPr>
            </a:p>
            <a:p>
              <a:pPr marL="0" lvl="1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25" dirty="0">
                  <a:solidFill>
                    <a:schemeClr val="bg2">
                      <a:lumMod val="10000"/>
                    </a:schemeClr>
                  </a:solidFill>
                </a:rPr>
                <a:t>FOR SYSTEM_TIME</a:t>
              </a:r>
            </a:p>
            <a:p>
              <a:pPr marL="85725" lvl="2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AS OF</a:t>
              </a:r>
              <a:r>
                <a:rPr lang="en-US" sz="1125" dirty="0">
                  <a:solidFill>
                    <a:schemeClr val="bg2">
                      <a:lumMod val="10000"/>
                    </a:schemeClr>
                  </a:solidFill>
                </a:rPr>
                <a:t> </a:t>
              </a:r>
            </a:p>
            <a:p>
              <a:pPr marL="85725" lvl="2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FROM..TO</a:t>
              </a:r>
            </a:p>
            <a:p>
              <a:pPr marL="85725" lvl="2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BETWEEN..AND</a:t>
              </a:r>
            </a:p>
            <a:p>
              <a:pPr marL="85725" lvl="2" defTabSz="500063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125" b="1" dirty="0">
                  <a:solidFill>
                    <a:schemeClr val="bg2">
                      <a:lumMod val="10000"/>
                    </a:schemeClr>
                  </a:solidFill>
                </a:rPr>
                <a:t>CONTAINED IN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9386866" y="3020942"/>
              <a:ext cx="2271687" cy="800328"/>
            </a:xfrm>
            <a:prstGeom prst="rect">
              <a:avLst/>
            </a:prstGeom>
            <a:solidFill>
              <a:srgbClr val="616161"/>
            </a:solidFill>
            <a:ln w="19050">
              <a:miter lim="800000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5740" tIns="35678" rIns="44727" bIns="35678" numCol="1" spcCol="1270" anchor="ctr" anchorCtr="0">
              <a:noAutofit/>
            </a:bodyPr>
            <a:lstStyle/>
            <a:p>
              <a:pPr defTabSz="63341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50" b="1">
                  <a:solidFill>
                    <a:schemeClr val="bg2">
                      <a:lumMod val="10000"/>
                    </a:schemeClr>
                  </a:solidFill>
                </a:rPr>
                <a:t>Temporal Querying</a:t>
              </a:r>
              <a:endParaRPr lang="en-US" sz="1350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965475" y="2932053"/>
              <a:ext cx="971821" cy="971378"/>
            </a:xfrm>
            <a:prstGeom prst="rect">
              <a:avLst/>
            </a:prstGeom>
          </p:spPr>
        </p:pic>
      </p:grpSp>
      <p:sp>
        <p:nvSpPr>
          <p:cNvPr id="56" name="TextBox 55"/>
          <p:cNvSpPr txBox="1"/>
          <p:nvPr/>
        </p:nvSpPr>
        <p:spPr>
          <a:xfrm>
            <a:off x="728552" y="1379408"/>
            <a:ext cx="1163446" cy="595538"/>
          </a:xfrm>
          <a:prstGeom prst="rect">
            <a:avLst/>
          </a:prstGeom>
          <a:noFill/>
        </p:spPr>
        <p:txBody>
          <a:bodyPr wrap="none" lIns="137153" tIns="109723" rIns="137153" bIns="109723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50"/>
              </a:spcAft>
            </a:pPr>
            <a:r>
              <a:rPr lang="en-US" sz="1350" b="1" dirty="0">
                <a:latin typeface="+mj-lt"/>
              </a:rPr>
              <a:t>ANSI 2011 </a:t>
            </a:r>
            <a:br>
              <a:rPr lang="en-US" sz="1350" b="1" dirty="0">
                <a:latin typeface="+mj-lt"/>
              </a:rPr>
            </a:br>
            <a:r>
              <a:rPr lang="en-US" sz="1350" b="1" dirty="0">
                <a:latin typeface="+mj-lt"/>
              </a:rPr>
              <a:t>compliant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-158863" y="5389718"/>
            <a:ext cx="2854643" cy="264177"/>
          </a:xfrm>
          <a:prstGeom prst="rect">
            <a:avLst/>
          </a:prstGeom>
          <a:noFill/>
        </p:spPr>
        <p:txBody>
          <a:bodyPr wrap="square" lIns="274320" tIns="109728" rIns="137160" bIns="109728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05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erformance</a:t>
            </a:r>
          </a:p>
        </p:txBody>
      </p:sp>
    </p:spTree>
    <p:extLst>
      <p:ext uri="{BB962C8B-B14F-4D97-AF65-F5344CB8AC3E}">
        <p14:creationId xmlns:p14="http://schemas.microsoft.com/office/powerpoint/2010/main" val="1636784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AS OF works – historical data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4783006" y="2470848"/>
            <a:ext cx="4046357" cy="2258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57175" indent="-257175" algn="ctr" defTabSz="69935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Wingdings 3" panose="05040102010807070707" pitchFamily="18" charset="2"/>
              <a:buChar char="Æ"/>
            </a:pPr>
            <a:endParaRPr lang="en-US" sz="1500" b="1" dirty="0" err="1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383358" y="3224498"/>
          <a:ext cx="3489460" cy="1483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28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27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27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61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49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6112">
                <a:tc>
                  <a:txBody>
                    <a:bodyPr/>
                    <a:lstStyle/>
                    <a:p>
                      <a:r>
                        <a:rPr lang="en-US" sz="900" u="sng" dirty="0">
                          <a:solidFill>
                            <a:schemeClr val="tx1"/>
                          </a:solidFill>
                        </a:rPr>
                        <a:t>DepNum</a:t>
                      </a:r>
                    </a:p>
                  </a:txBody>
                  <a:tcPr marL="69945" marR="69945" marT="68580" marB="6858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pName</a:t>
                      </a:r>
                    </a:p>
                  </a:txBody>
                  <a:tcPr marL="69945" marR="69945" marT="68580" marB="6858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MngrID</a:t>
                      </a:r>
                    </a:p>
                  </a:txBody>
                  <a:tcPr marL="69945" marR="69945" marT="68580" marB="6858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From</a:t>
                      </a:r>
                    </a:p>
                  </a:txBody>
                  <a:tcPr marL="69945" marR="69945" marT="68580" marB="6858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To</a:t>
                      </a:r>
                    </a:p>
                  </a:txBody>
                  <a:tcPr marL="69945" marR="69945" marT="68580" marB="68580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1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Marketing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005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008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2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Sales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005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007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3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Consulting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005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006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3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Consulting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009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012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16297" y="2522690"/>
          <a:ext cx="2273220" cy="2032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7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7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77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6112">
                <a:tc>
                  <a:txBody>
                    <a:bodyPr/>
                    <a:lstStyle/>
                    <a:p>
                      <a:r>
                        <a:rPr lang="en-US" sz="900" u="sng" dirty="0" err="1">
                          <a:solidFill>
                            <a:schemeClr val="tx1"/>
                          </a:solidFill>
                        </a:rPr>
                        <a:t>DepNum</a:t>
                      </a:r>
                      <a:endParaRPr lang="en-US" sz="900" u="sng" dirty="0">
                        <a:solidFill>
                          <a:schemeClr val="tx1"/>
                        </a:solidFill>
                      </a:endParaRPr>
                    </a:p>
                  </a:txBody>
                  <a:tcPr marL="69945" marR="69945" marT="68580" marB="6858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pName</a:t>
                      </a:r>
                    </a:p>
                  </a:txBody>
                  <a:tcPr marL="69945" marR="69945" marT="68580" marB="6858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MngrID</a:t>
                      </a:r>
                    </a:p>
                  </a:txBody>
                  <a:tcPr marL="69945" marR="69945" marT="68580" marB="68580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1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Marketing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1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Marketing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2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Sales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2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Sales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6047" rtl="0" eaLnBrk="1" latinLnBrk="0" hangingPunct="1"/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3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Consulting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3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Consulting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6047" rtl="0" eaLnBrk="1" latinLnBrk="0" hangingPunct="1"/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69945" marR="69945" marT="34973" marB="349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418776" y="1987342"/>
          <a:ext cx="3487526" cy="8990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9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27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8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63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6112">
                <a:tc>
                  <a:txBody>
                    <a:bodyPr/>
                    <a:lstStyle/>
                    <a:p>
                      <a:r>
                        <a:rPr lang="en-US" sz="900" u="sng" dirty="0">
                          <a:solidFill>
                            <a:schemeClr val="tx1"/>
                          </a:solidFill>
                        </a:rPr>
                        <a:t>DepNum</a:t>
                      </a:r>
                    </a:p>
                  </a:txBody>
                  <a:tcPr marL="69945" marR="69945" marT="68580" marB="6858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pName</a:t>
                      </a:r>
                    </a:p>
                  </a:txBody>
                  <a:tcPr marL="69945" marR="69945" marT="68580" marB="6858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MngrID</a:t>
                      </a:r>
                    </a:p>
                  </a:txBody>
                  <a:tcPr marL="69945" marR="69945" marT="68580" marB="6858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From</a:t>
                      </a:r>
                    </a:p>
                  </a:txBody>
                  <a:tcPr marL="69945" marR="69945" marT="68580" marB="6858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To</a:t>
                      </a:r>
                    </a:p>
                  </a:txBody>
                  <a:tcPr marL="69945" marR="69945" marT="68580" marB="68580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6466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1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Marketing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008</a:t>
                      </a:r>
                      <a:endParaRPr lang="en-US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∞</a:t>
                      </a:r>
                      <a:endParaRPr lang="en-US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6466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A002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Sales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007</a:t>
                      </a:r>
                      <a:endParaRPr lang="en-US" sz="9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∞</a:t>
                      </a:r>
                      <a:endParaRPr lang="en-US" sz="9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9945" marR="69945" marT="34973" marB="3497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 bwMode="auto">
          <a:xfrm>
            <a:off x="5709101" y="3224498"/>
            <a:ext cx="2541360" cy="205740"/>
          </a:xfrm>
          <a:prstGeom prst="rect">
            <a:avLst/>
          </a:prstGeom>
          <a:solidFill>
            <a:schemeClr val="accent4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18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spc="-38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A001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5577108" y="3728765"/>
            <a:ext cx="2683444" cy="205740"/>
          </a:xfrm>
          <a:prstGeom prst="rect">
            <a:avLst/>
          </a:prstGeom>
          <a:solidFill>
            <a:schemeClr val="accent4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18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spc="-38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A002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101389" y="4231387"/>
            <a:ext cx="1119294" cy="20574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18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spc="-38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A003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5301625" y="2543566"/>
            <a:ext cx="34820" cy="2153752"/>
          </a:xfrm>
          <a:prstGeom prst="line">
            <a:avLst/>
          </a:prstGeom>
          <a:ln w="317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7075" y="2987962"/>
            <a:ext cx="245762" cy="22031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880" y="3465266"/>
            <a:ext cx="245762" cy="22031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5324" y="3995827"/>
            <a:ext cx="245762" cy="220313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6099403" y="2543566"/>
            <a:ext cx="20765" cy="2153752"/>
          </a:xfrm>
          <a:prstGeom prst="line">
            <a:avLst/>
          </a:prstGeom>
          <a:ln w="317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2855" y="3208588"/>
            <a:ext cx="245762" cy="22031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8018" y="3712577"/>
            <a:ext cx="245762" cy="220313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 flipH="1">
            <a:off x="7210493" y="2543566"/>
            <a:ext cx="10190" cy="2153752"/>
          </a:xfrm>
          <a:prstGeom prst="line">
            <a:avLst/>
          </a:prstGeom>
          <a:ln w="317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9147" y="4216141"/>
            <a:ext cx="245762" cy="22031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6274298" y="4832709"/>
            <a:ext cx="804195" cy="2354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530" b="1" dirty="0">
                <a:latin typeface="Segoe UI Light" pitchFamily="34" charset="0"/>
              </a:rPr>
              <a:t>Valid data</a:t>
            </a:r>
          </a:p>
        </p:txBody>
      </p:sp>
      <p:cxnSp>
        <p:nvCxnSpPr>
          <p:cNvPr id="21" name="Straight Connector 20"/>
          <p:cNvCxnSpPr/>
          <p:nvPr/>
        </p:nvCxnSpPr>
        <p:spPr>
          <a:xfrm flipH="1">
            <a:off x="7986504" y="2543566"/>
            <a:ext cx="10190" cy="2153752"/>
          </a:xfrm>
          <a:prstGeom prst="line">
            <a:avLst/>
          </a:prstGeom>
          <a:ln w="317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7738662" y="4794675"/>
            <a:ext cx="514564" cy="2354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530" b="1" dirty="0">
                <a:latin typeface="Segoe UI Light" pitchFamily="34" charset="0"/>
              </a:rPr>
              <a:t>„</a:t>
            </a:r>
            <a:r>
              <a:rPr lang="en-US" sz="1530" b="1" dirty="0">
                <a:latin typeface="Segoe UI Light" pitchFamily="34" charset="0"/>
              </a:rPr>
              <a:t>Now</a:t>
            </a:r>
            <a:r>
              <a:rPr lang="pl-PL" sz="1530" b="1" dirty="0">
                <a:latin typeface="Segoe UI Light" pitchFamily="34" charset="0"/>
              </a:rPr>
              <a:t>”</a:t>
            </a:r>
            <a:endParaRPr lang="en-US" sz="1530" b="1" dirty="0">
              <a:latin typeface="Segoe UI Light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279982" y="3110197"/>
            <a:ext cx="256480" cy="37670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48" dirty="0">
                <a:latin typeface="Segoe UI Light" pitchFamily="34" charset="0"/>
              </a:rPr>
              <a:t>∞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271242" y="3597842"/>
            <a:ext cx="256480" cy="37670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48" dirty="0">
                <a:latin typeface="Segoe UI Light" pitchFamily="34" charset="0"/>
              </a:rPr>
              <a:t>∞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80298" y="1706761"/>
            <a:ext cx="1802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Department (actual data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80298" y="2946485"/>
            <a:ext cx="19988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Department (historical data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80297" y="2171701"/>
            <a:ext cx="2700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Department (actual and historical data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822573" y="4480433"/>
            <a:ext cx="452142" cy="184666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4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1050" dirty="0">
                <a:latin typeface="Segoe UI Light" pitchFamily="34" charset="0"/>
              </a:rPr>
              <a:t>2005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773161" y="4480433"/>
            <a:ext cx="452142" cy="184666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4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1050" dirty="0">
                <a:latin typeface="Segoe UI Light" pitchFamily="34" charset="0"/>
              </a:rPr>
              <a:t>2015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90061" y="5101729"/>
            <a:ext cx="4269680" cy="37683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 lIns="137160" tIns="68580" rIns="137160" bIns="0" rtlCol="0">
            <a:noAutofit/>
          </a:bodyPr>
          <a:lstStyle/>
          <a:p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latin typeface="Consolas" panose="020B0609020204030204" pitchFamily="49" charset="0"/>
              </a:rPr>
              <a:t>Department</a:t>
            </a:r>
            <a:endParaRPr lang="en-US" sz="1377" dirty="0">
              <a:latin typeface="Segoe UI Light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83053" y="4685935"/>
            <a:ext cx="4269679" cy="7050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 lIns="137160" tIns="68580" rIns="137160" bIns="0" rtlCol="0">
            <a:spAutoFit/>
          </a:bodyPr>
          <a:lstStyle/>
          <a:p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latin typeface="Consolas" panose="020B0609020204030204" pitchFamily="49" charset="0"/>
              </a:rPr>
              <a:t>Department</a:t>
            </a:r>
            <a:r>
              <a:rPr lang="en-US" sz="1377" dirty="0">
                <a:solidFill>
                  <a:schemeClr val="bg1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FOR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latin typeface="Consolas" panose="020B0609020204030204" pitchFamily="49" charset="0"/>
              </a:rPr>
              <a:t>SYSTEM_TIME</a:t>
            </a:r>
          </a:p>
          <a:p>
            <a:r>
              <a:rPr lang="en-US" sz="1377" dirty="0">
                <a:latin typeface="Consolas" panose="020B0609020204030204" pitchFamily="49" charset="0"/>
              </a:rPr>
              <a:t>BETWEEN </a:t>
            </a:r>
            <a:r>
              <a:rPr lang="en-US" sz="1377" dirty="0">
                <a:solidFill>
                  <a:srgbClr val="FF0000"/>
                </a:solidFill>
                <a:latin typeface="Consolas" panose="020B0609020204030204" pitchFamily="49" charset="0"/>
              </a:rPr>
              <a:t>'2006.01.01'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latin typeface="Consolas" panose="020B0609020204030204" pitchFamily="49" charset="0"/>
              </a:rPr>
              <a:t>AND </a:t>
            </a:r>
            <a:r>
              <a:rPr lang="en-US" sz="1377" dirty="0">
                <a:solidFill>
                  <a:srgbClr val="FF0000"/>
                </a:solidFill>
                <a:latin typeface="Consolas" panose="020B0609020204030204" pitchFamily="49" charset="0"/>
              </a:rPr>
              <a:t>'2007.01.01'</a:t>
            </a:r>
          </a:p>
          <a:p>
            <a:endParaRPr lang="en-US" sz="1377" dirty="0">
              <a:solidFill>
                <a:srgbClr val="002060"/>
              </a:solidFill>
              <a:latin typeface="Segoe UI Light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98221" y="4624902"/>
            <a:ext cx="4286110" cy="7050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none" lIns="137160" tIns="68580" rIns="137160" bIns="0" rtlCol="0">
            <a:spAutoFit/>
          </a:bodyPr>
          <a:lstStyle/>
          <a:p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latin typeface="Consolas" panose="020B0609020204030204" pitchFamily="49" charset="0"/>
              </a:rPr>
              <a:t>Department</a:t>
            </a:r>
            <a:r>
              <a:rPr lang="en-US" sz="1377" dirty="0">
                <a:solidFill>
                  <a:schemeClr val="bg1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FOR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latin typeface="Consolas" panose="020B0609020204030204" pitchFamily="49" charset="0"/>
              </a:rPr>
              <a:t>SYSTEM_TIME</a:t>
            </a:r>
          </a:p>
          <a:p>
            <a:r>
              <a:rPr lang="en-US" sz="1377" dirty="0">
                <a:latin typeface="Consolas" panose="020B0609020204030204" pitchFamily="49" charset="0"/>
              </a:rPr>
              <a:t>CONTAINED</a:t>
            </a:r>
            <a:r>
              <a:rPr lang="en-US" sz="1377" dirty="0">
                <a:solidFill>
                  <a:schemeClr val="bg1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808080"/>
                </a:solidFill>
                <a:latin typeface="Consolas" panose="020B0609020204030204" pitchFamily="49" charset="0"/>
              </a:rPr>
              <a:t>IN</a:t>
            </a:r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377" dirty="0">
                <a:solidFill>
                  <a:srgbClr val="FF0000"/>
                </a:solidFill>
                <a:latin typeface="Consolas" panose="020B0609020204030204" pitchFamily="49" charset="0"/>
              </a:rPr>
              <a:t>'2007.01.01'</a:t>
            </a:r>
            <a:r>
              <a:rPr lang="en-US" sz="1377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FF0000"/>
                </a:solidFill>
                <a:latin typeface="Consolas" panose="020B0609020204030204" pitchFamily="49" charset="0"/>
              </a:rPr>
              <a:t>'2009.01.01'</a:t>
            </a:r>
            <a:r>
              <a:rPr lang="en-US" sz="1377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</a:p>
          <a:p>
            <a:endParaRPr lang="en-US" sz="1377" dirty="0">
              <a:solidFill>
                <a:srgbClr val="002060"/>
              </a:solidFill>
              <a:latin typeface="Segoe UI Light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69128" y="4634975"/>
            <a:ext cx="4286110" cy="7050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none" lIns="137160" tIns="68580" rIns="137160" bIns="0" rtlCol="0">
            <a:spAutoFit/>
          </a:bodyPr>
          <a:lstStyle/>
          <a:p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latin typeface="Consolas" panose="020B0609020204030204" pitchFamily="49" charset="0"/>
              </a:rPr>
              <a:t>Department</a:t>
            </a:r>
            <a:r>
              <a:rPr lang="en-US" sz="1377" dirty="0">
                <a:solidFill>
                  <a:schemeClr val="bg1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FOR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latin typeface="Consolas" panose="020B0609020204030204" pitchFamily="49" charset="0"/>
              </a:rPr>
              <a:t>SYSTEM_TIME </a:t>
            </a:r>
          </a:p>
          <a:p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0000FF"/>
                </a:solidFill>
                <a:latin typeface="Consolas" panose="020B0609020204030204" pitchFamily="49" charset="0"/>
              </a:rPr>
              <a:t>OF</a:t>
            </a:r>
            <a:r>
              <a:rPr lang="en-US" sz="1377" dirty="0">
                <a:solidFill>
                  <a:prstClr val="black"/>
                </a:solidFill>
                <a:latin typeface="Consolas" panose="020B0609020204030204" pitchFamily="49" charset="0"/>
              </a:rPr>
              <a:t> </a:t>
            </a:r>
            <a:r>
              <a:rPr lang="en-US" sz="1377" dirty="0">
                <a:solidFill>
                  <a:srgbClr val="FF0000"/>
                </a:solidFill>
                <a:latin typeface="Consolas" panose="020B0609020204030204" pitchFamily="49" charset="0"/>
              </a:rPr>
              <a:t>'2006.01.01'</a:t>
            </a:r>
          </a:p>
          <a:p>
            <a:endParaRPr lang="en-US" sz="1377" dirty="0">
              <a:solidFill>
                <a:srgbClr val="002060"/>
              </a:solidFill>
              <a:latin typeface="Segoe UI Light" pitchFamily="34" charset="0"/>
            </a:endParaRPr>
          </a:p>
        </p:txBody>
      </p:sp>
      <p:cxnSp>
        <p:nvCxnSpPr>
          <p:cNvPr id="34" name="Straight Arrow Connector 33"/>
          <p:cNvCxnSpPr/>
          <p:nvPr/>
        </p:nvCxnSpPr>
        <p:spPr>
          <a:xfrm flipV="1">
            <a:off x="4783006" y="4729447"/>
            <a:ext cx="4046357" cy="1573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 bwMode="auto">
          <a:xfrm>
            <a:off x="5013224" y="2995274"/>
            <a:ext cx="699452" cy="20574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18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spc="-38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A001</a:t>
            </a:r>
            <a:endParaRPr lang="en-US" sz="1350" b="1" spc="-38" dirty="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5013224" y="3464527"/>
            <a:ext cx="576801" cy="20574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18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spc="-38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A002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5013224" y="3994583"/>
            <a:ext cx="417834" cy="20574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18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spc="-38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A003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783006" y="2104555"/>
            <a:ext cx="4046357" cy="36629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2400">
                <a:solidFill>
                  <a:srgbClr val="002060"/>
                </a:solidFill>
                <a:latin typeface="Segoe UI Light" pitchFamily="34" charset="0"/>
              </a:defRPr>
            </a:lvl1pPr>
          </a:lstStyle>
          <a:p>
            <a:r>
              <a:rPr lang="en-US" sz="1800">
                <a:solidFill>
                  <a:schemeClr val="tx1"/>
                </a:solidFill>
              </a:rPr>
              <a:t>“Get </a:t>
            </a:r>
            <a:r>
              <a:rPr lang="en-US" sz="1800" dirty="0">
                <a:solidFill>
                  <a:schemeClr val="tx1"/>
                </a:solidFill>
              </a:rPr>
              <a:t>actual row versions”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782100" y="2104555"/>
            <a:ext cx="1244936" cy="36629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1350" dirty="0">
                <a:latin typeface="Segoe UI Light" pitchFamily="34" charset="0"/>
              </a:rPr>
              <a:t>AS OF</a:t>
            </a:r>
            <a:endParaRPr lang="en-US" sz="2400" dirty="0">
              <a:latin typeface="Segoe UI Light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066752" y="2104555"/>
            <a:ext cx="2065247" cy="36629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1350" dirty="0">
                <a:latin typeface="Segoe UI Light" pitchFamily="34" charset="0"/>
              </a:rPr>
              <a:t>BETWEEN..AND</a:t>
            </a:r>
            <a:endParaRPr lang="en-US" sz="2400" dirty="0">
              <a:latin typeface="Segoe UI Light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055123" y="2104555"/>
            <a:ext cx="2195339" cy="36629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1350" dirty="0">
                <a:latin typeface="Segoe UI Light" pitchFamily="34" charset="0"/>
              </a:rPr>
              <a:t>CONTAINED IN</a:t>
            </a:r>
            <a:endParaRPr lang="en-US" sz="2400" dirty="0"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29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4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6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500"/>
                            </p:stCondLst>
                            <p:childTnLst>
                              <p:par>
                                <p:cTn id="98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500"/>
                            </p:stCondLst>
                            <p:childTnLst>
                              <p:par>
                                <p:cTn id="1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1" fill="hold">
                            <p:stCondLst>
                              <p:cond delay="500"/>
                            </p:stCondLst>
                            <p:childTnLst>
                              <p:par>
                                <p:cTn id="17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  <p:bldP spid="10" grpId="0" animBg="1"/>
      <p:bldP spid="20" grpId="0"/>
      <p:bldP spid="22" grpId="0"/>
      <p:bldP spid="23" grpId="0"/>
      <p:bldP spid="24" grpId="0"/>
      <p:bldP spid="25" grpId="0"/>
      <p:bldP spid="26" grpId="0"/>
      <p:bldP spid="27" grpId="0"/>
      <p:bldP spid="28" grpId="0" animBg="1"/>
      <p:bldP spid="29" grpId="0" animBg="1"/>
      <p:bldP spid="30" grpId="0" animBg="1"/>
      <p:bldP spid="30" grpId="1" animBg="1"/>
      <p:bldP spid="31" grpId="0" animBg="1"/>
      <p:bldP spid="31" grpId="1" animBg="1"/>
      <p:bldP spid="32" grpId="0" animBg="1"/>
      <p:bldP spid="33" grpId="0" animBg="1"/>
      <p:bldP spid="33" grpId="1" animBg="1"/>
      <p:bldP spid="36" grpId="0" animBg="1"/>
      <p:bldP spid="37" grpId="0" animBg="1"/>
      <p:bldP spid="38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system-time work?</a:t>
            </a:r>
            <a:endParaRPr lang="pl-PL" dirty="0"/>
          </a:p>
        </p:txBody>
      </p:sp>
      <p:sp>
        <p:nvSpPr>
          <p:cNvPr id="4" name="Rectangle 3"/>
          <p:cNvSpPr/>
          <p:nvPr/>
        </p:nvSpPr>
        <p:spPr bwMode="auto">
          <a:xfrm>
            <a:off x="383336" y="1657350"/>
            <a:ext cx="6960344" cy="2497362"/>
          </a:xfrm>
          <a:prstGeom prst="rect">
            <a:avLst/>
          </a:prstGeom>
          <a:solidFill>
            <a:schemeClr val="accent6">
              <a:alpha val="0"/>
            </a:schemeClr>
          </a:solidFill>
          <a:ln w="25400">
            <a:solidFill>
              <a:schemeClr val="accent4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34290" bIns="6858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574" fontAlgn="base">
              <a:spcBef>
                <a:spcPct val="0"/>
              </a:spcBef>
              <a:spcAft>
                <a:spcPct val="0"/>
              </a:spcAft>
            </a:pPr>
            <a:endParaRPr lang="en-US" sz="135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94914" y="1849791"/>
            <a:ext cx="2441887" cy="429348"/>
          </a:xfrm>
          <a:prstGeom prst="rect">
            <a:avLst/>
          </a:prstGeom>
          <a:noFill/>
        </p:spPr>
        <p:txBody>
          <a:bodyPr wrap="none" lIns="137160" tIns="109728" rIns="137160" bIns="109728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b="1" spc="-38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emporal table (actual data)</a:t>
            </a:r>
          </a:p>
        </p:txBody>
      </p:sp>
      <p:sp>
        <p:nvSpPr>
          <p:cNvPr id="6" name="Right Arrow 5"/>
          <p:cNvSpPr/>
          <p:nvPr/>
        </p:nvSpPr>
        <p:spPr bwMode="auto">
          <a:xfrm rot="16200000">
            <a:off x="1279642" y="4353375"/>
            <a:ext cx="1374449" cy="372158"/>
          </a:xfrm>
          <a:prstGeom prst="rightArrow">
            <a:avLst>
              <a:gd name="adj1" fmla="val 50000"/>
              <a:gd name="adj2" fmla="val 101282"/>
            </a:avLst>
          </a:prstGeom>
          <a:solidFill>
            <a:srgbClr val="505050"/>
          </a:solidFill>
          <a:ln w="25400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500" kern="0" spc="-38" dirty="0"/>
          </a:p>
        </p:txBody>
      </p:sp>
      <p:sp>
        <p:nvSpPr>
          <p:cNvPr id="7" name="TextBox 6"/>
          <p:cNvSpPr txBox="1"/>
          <p:nvPr/>
        </p:nvSpPr>
        <p:spPr>
          <a:xfrm>
            <a:off x="3701609" y="4778033"/>
            <a:ext cx="2400300" cy="470898"/>
          </a:xfrm>
          <a:prstGeom prst="rect">
            <a:avLst/>
          </a:prstGeom>
          <a:noFill/>
        </p:spPr>
        <p:txBody>
          <a:bodyPr wrap="square" lIns="137160" tIns="109728" rIns="137160" bIns="109728" rtlCol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kern="0" spc="-38" dirty="0">
                <a:latin typeface="+mj-lt"/>
              </a:rPr>
              <a:t>Insert / Bulk Inser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05718" y="2539620"/>
            <a:ext cx="1708778" cy="470898"/>
          </a:xfrm>
          <a:prstGeom prst="rect">
            <a:avLst/>
          </a:prstGeom>
          <a:noFill/>
        </p:spPr>
        <p:txBody>
          <a:bodyPr wrap="square" lIns="137160" tIns="109728" rIns="137160" bIns="109728" rtlCol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kern="0" spc="-38" dirty="0"/>
              <a:t>* Old versions</a:t>
            </a:r>
          </a:p>
        </p:txBody>
      </p:sp>
      <p:sp>
        <p:nvSpPr>
          <p:cNvPr id="9" name="Rectangle 8"/>
          <p:cNvSpPr/>
          <p:nvPr/>
        </p:nvSpPr>
        <p:spPr>
          <a:xfrm>
            <a:off x="3701609" y="4475813"/>
            <a:ext cx="2400300" cy="341632"/>
          </a:xfrm>
          <a:prstGeom prst="rect">
            <a:avLst/>
          </a:prstGeom>
        </p:spPr>
        <p:txBody>
          <a:bodyPr wrap="square" lIns="13716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kern="0" spc="-38" dirty="0">
                <a:latin typeface="+mj-lt"/>
              </a:rPr>
              <a:t>Update */ Delete *</a:t>
            </a:r>
          </a:p>
        </p:txBody>
      </p:sp>
      <p:grpSp>
        <p:nvGrpSpPr>
          <p:cNvPr id="10" name="Group 11"/>
          <p:cNvGrpSpPr>
            <a:grpSpLocks noChangeAspect="1"/>
          </p:cNvGrpSpPr>
          <p:nvPr/>
        </p:nvGrpSpPr>
        <p:grpSpPr bwMode="auto">
          <a:xfrm>
            <a:off x="994524" y="2428729"/>
            <a:ext cx="1859759" cy="1418189"/>
            <a:chOff x="1141" y="423"/>
            <a:chExt cx="3024" cy="2306"/>
          </a:xfrm>
        </p:grpSpPr>
        <p:sp>
          <p:nvSpPr>
            <p:cNvPr id="11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141" y="424"/>
              <a:ext cx="3024" cy="2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Rectangle 12"/>
            <p:cNvSpPr>
              <a:spLocks noChangeArrowheads="1"/>
            </p:cNvSpPr>
            <p:nvPr/>
          </p:nvSpPr>
          <p:spPr bwMode="auto">
            <a:xfrm>
              <a:off x="1141" y="423"/>
              <a:ext cx="3024" cy="226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1141" y="423"/>
              <a:ext cx="3024" cy="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1249" y="540"/>
              <a:ext cx="2803" cy="3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Rectangle 15"/>
            <p:cNvSpPr>
              <a:spLocks noChangeArrowheads="1"/>
            </p:cNvSpPr>
            <p:nvPr/>
          </p:nvSpPr>
          <p:spPr bwMode="auto">
            <a:xfrm>
              <a:off x="1249" y="959"/>
              <a:ext cx="389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1651" y="959"/>
              <a:ext cx="389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Rectangle 17"/>
            <p:cNvSpPr>
              <a:spLocks noChangeArrowheads="1"/>
            </p:cNvSpPr>
            <p:nvPr/>
          </p:nvSpPr>
          <p:spPr bwMode="auto">
            <a:xfrm>
              <a:off x="2053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Rectangle 18"/>
            <p:cNvSpPr>
              <a:spLocks noChangeArrowheads="1"/>
            </p:cNvSpPr>
            <p:nvPr/>
          </p:nvSpPr>
          <p:spPr bwMode="auto">
            <a:xfrm>
              <a:off x="2455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Rectangle 19"/>
            <p:cNvSpPr>
              <a:spLocks noChangeArrowheads="1"/>
            </p:cNvSpPr>
            <p:nvPr/>
          </p:nvSpPr>
          <p:spPr bwMode="auto">
            <a:xfrm>
              <a:off x="2857" y="959"/>
              <a:ext cx="391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Rectangle 20"/>
            <p:cNvSpPr>
              <a:spLocks noChangeArrowheads="1"/>
            </p:cNvSpPr>
            <p:nvPr/>
          </p:nvSpPr>
          <p:spPr bwMode="auto">
            <a:xfrm>
              <a:off x="3260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Rectangle 21"/>
            <p:cNvSpPr>
              <a:spLocks noChangeArrowheads="1"/>
            </p:cNvSpPr>
            <p:nvPr/>
          </p:nvSpPr>
          <p:spPr bwMode="auto">
            <a:xfrm>
              <a:off x="3662" y="959"/>
              <a:ext cx="390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Rectangle 22"/>
            <p:cNvSpPr>
              <a:spLocks noChangeArrowheads="1"/>
            </p:cNvSpPr>
            <p:nvPr/>
          </p:nvSpPr>
          <p:spPr bwMode="auto">
            <a:xfrm>
              <a:off x="1249" y="1369"/>
              <a:ext cx="389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Rectangle 23"/>
            <p:cNvSpPr>
              <a:spLocks noChangeArrowheads="1"/>
            </p:cNvSpPr>
            <p:nvPr/>
          </p:nvSpPr>
          <p:spPr bwMode="auto">
            <a:xfrm>
              <a:off x="1651" y="1369"/>
              <a:ext cx="389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Rectangle 24"/>
            <p:cNvSpPr>
              <a:spLocks noChangeArrowheads="1"/>
            </p:cNvSpPr>
            <p:nvPr/>
          </p:nvSpPr>
          <p:spPr bwMode="auto">
            <a:xfrm>
              <a:off x="2053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auto">
            <a:xfrm>
              <a:off x="2455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Rectangle 26"/>
            <p:cNvSpPr>
              <a:spLocks noChangeArrowheads="1"/>
            </p:cNvSpPr>
            <p:nvPr/>
          </p:nvSpPr>
          <p:spPr bwMode="auto">
            <a:xfrm>
              <a:off x="2857" y="1369"/>
              <a:ext cx="391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Rectangle 27"/>
            <p:cNvSpPr>
              <a:spLocks noChangeArrowheads="1"/>
            </p:cNvSpPr>
            <p:nvPr/>
          </p:nvSpPr>
          <p:spPr bwMode="auto">
            <a:xfrm>
              <a:off x="3260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8" name="Rectangle 28"/>
            <p:cNvSpPr>
              <a:spLocks noChangeArrowheads="1"/>
            </p:cNvSpPr>
            <p:nvPr/>
          </p:nvSpPr>
          <p:spPr bwMode="auto">
            <a:xfrm>
              <a:off x="3662" y="1369"/>
              <a:ext cx="390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9" name="Rectangle 29"/>
            <p:cNvSpPr>
              <a:spLocks noChangeArrowheads="1"/>
            </p:cNvSpPr>
            <p:nvPr/>
          </p:nvSpPr>
          <p:spPr bwMode="auto">
            <a:xfrm>
              <a:off x="1249" y="1780"/>
              <a:ext cx="389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0" name="Rectangle 30"/>
            <p:cNvSpPr>
              <a:spLocks noChangeArrowheads="1"/>
            </p:cNvSpPr>
            <p:nvPr/>
          </p:nvSpPr>
          <p:spPr bwMode="auto">
            <a:xfrm>
              <a:off x="1651" y="1780"/>
              <a:ext cx="389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1" name="Rectangle 31"/>
            <p:cNvSpPr>
              <a:spLocks noChangeArrowheads="1"/>
            </p:cNvSpPr>
            <p:nvPr/>
          </p:nvSpPr>
          <p:spPr bwMode="auto">
            <a:xfrm>
              <a:off x="2053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2" name="Rectangle 32"/>
            <p:cNvSpPr>
              <a:spLocks noChangeArrowheads="1"/>
            </p:cNvSpPr>
            <p:nvPr/>
          </p:nvSpPr>
          <p:spPr bwMode="auto">
            <a:xfrm>
              <a:off x="2455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3" name="Rectangle 33"/>
            <p:cNvSpPr>
              <a:spLocks noChangeArrowheads="1"/>
            </p:cNvSpPr>
            <p:nvPr/>
          </p:nvSpPr>
          <p:spPr bwMode="auto">
            <a:xfrm>
              <a:off x="2857" y="1780"/>
              <a:ext cx="391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4" name="Rectangle 34"/>
            <p:cNvSpPr>
              <a:spLocks noChangeArrowheads="1"/>
            </p:cNvSpPr>
            <p:nvPr/>
          </p:nvSpPr>
          <p:spPr bwMode="auto">
            <a:xfrm>
              <a:off x="3260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5" name="Rectangle 35"/>
            <p:cNvSpPr>
              <a:spLocks noChangeArrowheads="1"/>
            </p:cNvSpPr>
            <p:nvPr/>
          </p:nvSpPr>
          <p:spPr bwMode="auto">
            <a:xfrm>
              <a:off x="3662" y="1780"/>
              <a:ext cx="390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6" name="Rectangle 36"/>
            <p:cNvSpPr>
              <a:spLocks noChangeArrowheads="1"/>
            </p:cNvSpPr>
            <p:nvPr/>
          </p:nvSpPr>
          <p:spPr bwMode="auto">
            <a:xfrm>
              <a:off x="1249" y="2191"/>
              <a:ext cx="389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7" name="Rectangle 37"/>
            <p:cNvSpPr>
              <a:spLocks noChangeArrowheads="1"/>
            </p:cNvSpPr>
            <p:nvPr/>
          </p:nvSpPr>
          <p:spPr bwMode="auto">
            <a:xfrm>
              <a:off x="1651" y="2191"/>
              <a:ext cx="389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8" name="Rectangle 38"/>
            <p:cNvSpPr>
              <a:spLocks noChangeArrowheads="1"/>
            </p:cNvSpPr>
            <p:nvPr/>
          </p:nvSpPr>
          <p:spPr bwMode="auto">
            <a:xfrm>
              <a:off x="2053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9" name="Rectangle 39"/>
            <p:cNvSpPr>
              <a:spLocks noChangeArrowheads="1"/>
            </p:cNvSpPr>
            <p:nvPr/>
          </p:nvSpPr>
          <p:spPr bwMode="auto">
            <a:xfrm>
              <a:off x="2455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0" name="Rectangle 40"/>
            <p:cNvSpPr>
              <a:spLocks noChangeArrowheads="1"/>
            </p:cNvSpPr>
            <p:nvPr/>
          </p:nvSpPr>
          <p:spPr bwMode="auto">
            <a:xfrm>
              <a:off x="2857" y="2191"/>
              <a:ext cx="391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1" name="Rectangle 41"/>
            <p:cNvSpPr>
              <a:spLocks noChangeArrowheads="1"/>
            </p:cNvSpPr>
            <p:nvPr/>
          </p:nvSpPr>
          <p:spPr bwMode="auto">
            <a:xfrm>
              <a:off x="3260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2" name="Rectangle 42"/>
            <p:cNvSpPr>
              <a:spLocks noChangeArrowheads="1"/>
            </p:cNvSpPr>
            <p:nvPr/>
          </p:nvSpPr>
          <p:spPr bwMode="auto">
            <a:xfrm>
              <a:off x="3662" y="2191"/>
              <a:ext cx="390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3" name="Freeform 44"/>
            <p:cNvSpPr>
              <a:spLocks/>
            </p:cNvSpPr>
            <p:nvPr/>
          </p:nvSpPr>
          <p:spPr bwMode="auto">
            <a:xfrm>
              <a:off x="1141" y="2685"/>
              <a:ext cx="3024" cy="44"/>
            </a:xfrm>
            <a:custGeom>
              <a:avLst/>
              <a:gdLst>
                <a:gd name="T0" fmla="*/ 3024 w 3024"/>
                <a:gd name="T1" fmla="*/ 0 h 44"/>
                <a:gd name="T2" fmla="*/ 3024 w 3024"/>
                <a:gd name="T3" fmla="*/ 0 h 44"/>
                <a:gd name="T4" fmla="*/ 0 w 3024"/>
                <a:gd name="T5" fmla="*/ 0 h 44"/>
                <a:gd name="T6" fmla="*/ 0 w 3024"/>
                <a:gd name="T7" fmla="*/ 44 h 44"/>
                <a:gd name="T8" fmla="*/ 3024 w 3024"/>
                <a:gd name="T9" fmla="*/ 44 h 44"/>
                <a:gd name="T10" fmla="*/ 3024 w 3024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4" h="44">
                  <a:moveTo>
                    <a:pt x="3024" y="0"/>
                  </a:moveTo>
                  <a:lnTo>
                    <a:pt x="3024" y="0"/>
                  </a:lnTo>
                  <a:lnTo>
                    <a:pt x="0" y="0"/>
                  </a:lnTo>
                  <a:lnTo>
                    <a:pt x="0" y="44"/>
                  </a:lnTo>
                  <a:lnTo>
                    <a:pt x="3024" y="44"/>
                  </a:lnTo>
                  <a:lnTo>
                    <a:pt x="30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44" name="Group 11"/>
          <p:cNvGrpSpPr>
            <a:grpSpLocks noChangeAspect="1"/>
          </p:cNvGrpSpPr>
          <p:nvPr/>
        </p:nvGrpSpPr>
        <p:grpSpPr bwMode="auto">
          <a:xfrm>
            <a:off x="4683991" y="2428729"/>
            <a:ext cx="1859759" cy="1418189"/>
            <a:chOff x="1141" y="423"/>
            <a:chExt cx="3024" cy="2306"/>
          </a:xfrm>
        </p:grpSpPr>
        <p:sp>
          <p:nvSpPr>
            <p:cNvPr id="45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141" y="424"/>
              <a:ext cx="3024" cy="2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6" name="Rectangle 12"/>
            <p:cNvSpPr>
              <a:spLocks noChangeArrowheads="1"/>
            </p:cNvSpPr>
            <p:nvPr/>
          </p:nvSpPr>
          <p:spPr bwMode="auto">
            <a:xfrm>
              <a:off x="1141" y="423"/>
              <a:ext cx="3024" cy="226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7" name="Rectangle 13"/>
            <p:cNvSpPr>
              <a:spLocks noChangeArrowheads="1"/>
            </p:cNvSpPr>
            <p:nvPr/>
          </p:nvSpPr>
          <p:spPr bwMode="auto">
            <a:xfrm>
              <a:off x="1141" y="423"/>
              <a:ext cx="3024" cy="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8" name="Rectangle 14"/>
            <p:cNvSpPr>
              <a:spLocks noChangeArrowheads="1"/>
            </p:cNvSpPr>
            <p:nvPr/>
          </p:nvSpPr>
          <p:spPr bwMode="auto">
            <a:xfrm>
              <a:off x="1249" y="540"/>
              <a:ext cx="2803" cy="3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9" name="Rectangle 15"/>
            <p:cNvSpPr>
              <a:spLocks noChangeArrowheads="1"/>
            </p:cNvSpPr>
            <p:nvPr/>
          </p:nvSpPr>
          <p:spPr bwMode="auto">
            <a:xfrm>
              <a:off x="1249" y="959"/>
              <a:ext cx="389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0" name="Rectangle 16"/>
            <p:cNvSpPr>
              <a:spLocks noChangeArrowheads="1"/>
            </p:cNvSpPr>
            <p:nvPr/>
          </p:nvSpPr>
          <p:spPr bwMode="auto">
            <a:xfrm>
              <a:off x="1651" y="959"/>
              <a:ext cx="389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1" name="Rectangle 17"/>
            <p:cNvSpPr>
              <a:spLocks noChangeArrowheads="1"/>
            </p:cNvSpPr>
            <p:nvPr/>
          </p:nvSpPr>
          <p:spPr bwMode="auto">
            <a:xfrm>
              <a:off x="2053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2" name="Rectangle 18"/>
            <p:cNvSpPr>
              <a:spLocks noChangeArrowheads="1"/>
            </p:cNvSpPr>
            <p:nvPr/>
          </p:nvSpPr>
          <p:spPr bwMode="auto">
            <a:xfrm>
              <a:off x="2455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3" name="Rectangle 19"/>
            <p:cNvSpPr>
              <a:spLocks noChangeArrowheads="1"/>
            </p:cNvSpPr>
            <p:nvPr/>
          </p:nvSpPr>
          <p:spPr bwMode="auto">
            <a:xfrm>
              <a:off x="2857" y="959"/>
              <a:ext cx="391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4" name="Rectangle 20"/>
            <p:cNvSpPr>
              <a:spLocks noChangeArrowheads="1"/>
            </p:cNvSpPr>
            <p:nvPr/>
          </p:nvSpPr>
          <p:spPr bwMode="auto">
            <a:xfrm>
              <a:off x="3260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5" name="Rectangle 21"/>
            <p:cNvSpPr>
              <a:spLocks noChangeArrowheads="1"/>
            </p:cNvSpPr>
            <p:nvPr/>
          </p:nvSpPr>
          <p:spPr bwMode="auto">
            <a:xfrm>
              <a:off x="3662" y="959"/>
              <a:ext cx="390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6" name="Rectangle 22"/>
            <p:cNvSpPr>
              <a:spLocks noChangeArrowheads="1"/>
            </p:cNvSpPr>
            <p:nvPr/>
          </p:nvSpPr>
          <p:spPr bwMode="auto">
            <a:xfrm>
              <a:off x="1249" y="1369"/>
              <a:ext cx="389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7" name="Rectangle 23"/>
            <p:cNvSpPr>
              <a:spLocks noChangeArrowheads="1"/>
            </p:cNvSpPr>
            <p:nvPr/>
          </p:nvSpPr>
          <p:spPr bwMode="auto">
            <a:xfrm>
              <a:off x="1651" y="1369"/>
              <a:ext cx="389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8" name="Rectangle 24"/>
            <p:cNvSpPr>
              <a:spLocks noChangeArrowheads="1"/>
            </p:cNvSpPr>
            <p:nvPr/>
          </p:nvSpPr>
          <p:spPr bwMode="auto">
            <a:xfrm>
              <a:off x="2053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9" name="Rectangle 25"/>
            <p:cNvSpPr>
              <a:spLocks noChangeArrowheads="1"/>
            </p:cNvSpPr>
            <p:nvPr/>
          </p:nvSpPr>
          <p:spPr bwMode="auto">
            <a:xfrm>
              <a:off x="2455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0" name="Rectangle 26"/>
            <p:cNvSpPr>
              <a:spLocks noChangeArrowheads="1"/>
            </p:cNvSpPr>
            <p:nvPr/>
          </p:nvSpPr>
          <p:spPr bwMode="auto">
            <a:xfrm>
              <a:off x="2857" y="1369"/>
              <a:ext cx="391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1" name="Rectangle 27"/>
            <p:cNvSpPr>
              <a:spLocks noChangeArrowheads="1"/>
            </p:cNvSpPr>
            <p:nvPr/>
          </p:nvSpPr>
          <p:spPr bwMode="auto">
            <a:xfrm>
              <a:off x="3260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3662" y="1369"/>
              <a:ext cx="390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3" name="Rectangle 29"/>
            <p:cNvSpPr>
              <a:spLocks noChangeArrowheads="1"/>
            </p:cNvSpPr>
            <p:nvPr/>
          </p:nvSpPr>
          <p:spPr bwMode="auto">
            <a:xfrm>
              <a:off x="1249" y="1780"/>
              <a:ext cx="389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651" y="1780"/>
              <a:ext cx="389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2053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6" name="Rectangle 32"/>
            <p:cNvSpPr>
              <a:spLocks noChangeArrowheads="1"/>
            </p:cNvSpPr>
            <p:nvPr/>
          </p:nvSpPr>
          <p:spPr bwMode="auto">
            <a:xfrm>
              <a:off x="2455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7" name="Rectangle 33"/>
            <p:cNvSpPr>
              <a:spLocks noChangeArrowheads="1"/>
            </p:cNvSpPr>
            <p:nvPr/>
          </p:nvSpPr>
          <p:spPr bwMode="auto">
            <a:xfrm>
              <a:off x="2857" y="1780"/>
              <a:ext cx="391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8" name="Rectangle 34"/>
            <p:cNvSpPr>
              <a:spLocks noChangeArrowheads="1"/>
            </p:cNvSpPr>
            <p:nvPr/>
          </p:nvSpPr>
          <p:spPr bwMode="auto">
            <a:xfrm>
              <a:off x="3260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9" name="Rectangle 35"/>
            <p:cNvSpPr>
              <a:spLocks noChangeArrowheads="1"/>
            </p:cNvSpPr>
            <p:nvPr/>
          </p:nvSpPr>
          <p:spPr bwMode="auto">
            <a:xfrm>
              <a:off x="3662" y="1780"/>
              <a:ext cx="390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249" y="2191"/>
              <a:ext cx="389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1" name="Rectangle 37"/>
            <p:cNvSpPr>
              <a:spLocks noChangeArrowheads="1"/>
            </p:cNvSpPr>
            <p:nvPr/>
          </p:nvSpPr>
          <p:spPr bwMode="auto">
            <a:xfrm>
              <a:off x="1651" y="2191"/>
              <a:ext cx="389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2" name="Rectangle 38"/>
            <p:cNvSpPr>
              <a:spLocks noChangeArrowheads="1"/>
            </p:cNvSpPr>
            <p:nvPr/>
          </p:nvSpPr>
          <p:spPr bwMode="auto">
            <a:xfrm>
              <a:off x="2053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3" name="Rectangle 39"/>
            <p:cNvSpPr>
              <a:spLocks noChangeArrowheads="1"/>
            </p:cNvSpPr>
            <p:nvPr/>
          </p:nvSpPr>
          <p:spPr bwMode="auto">
            <a:xfrm>
              <a:off x="2455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4" name="Rectangle 40"/>
            <p:cNvSpPr>
              <a:spLocks noChangeArrowheads="1"/>
            </p:cNvSpPr>
            <p:nvPr/>
          </p:nvSpPr>
          <p:spPr bwMode="auto">
            <a:xfrm>
              <a:off x="2857" y="2191"/>
              <a:ext cx="391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5" name="Rectangle 41"/>
            <p:cNvSpPr>
              <a:spLocks noChangeArrowheads="1"/>
            </p:cNvSpPr>
            <p:nvPr/>
          </p:nvSpPr>
          <p:spPr bwMode="auto">
            <a:xfrm>
              <a:off x="3260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6" name="Rectangle 42"/>
            <p:cNvSpPr>
              <a:spLocks noChangeArrowheads="1"/>
            </p:cNvSpPr>
            <p:nvPr/>
          </p:nvSpPr>
          <p:spPr bwMode="auto">
            <a:xfrm>
              <a:off x="3662" y="2191"/>
              <a:ext cx="390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7" name="Freeform 44"/>
            <p:cNvSpPr>
              <a:spLocks/>
            </p:cNvSpPr>
            <p:nvPr/>
          </p:nvSpPr>
          <p:spPr bwMode="auto">
            <a:xfrm>
              <a:off x="1141" y="2685"/>
              <a:ext cx="3024" cy="44"/>
            </a:xfrm>
            <a:custGeom>
              <a:avLst/>
              <a:gdLst>
                <a:gd name="T0" fmla="*/ 3024 w 3024"/>
                <a:gd name="T1" fmla="*/ 0 h 44"/>
                <a:gd name="T2" fmla="*/ 3024 w 3024"/>
                <a:gd name="T3" fmla="*/ 0 h 44"/>
                <a:gd name="T4" fmla="*/ 0 w 3024"/>
                <a:gd name="T5" fmla="*/ 0 h 44"/>
                <a:gd name="T6" fmla="*/ 0 w 3024"/>
                <a:gd name="T7" fmla="*/ 44 h 44"/>
                <a:gd name="T8" fmla="*/ 3024 w 3024"/>
                <a:gd name="T9" fmla="*/ 44 h 44"/>
                <a:gd name="T10" fmla="*/ 3024 w 3024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4" h="44">
                  <a:moveTo>
                    <a:pt x="3024" y="0"/>
                  </a:moveTo>
                  <a:lnTo>
                    <a:pt x="3024" y="0"/>
                  </a:lnTo>
                  <a:lnTo>
                    <a:pt x="0" y="0"/>
                  </a:lnTo>
                  <a:lnTo>
                    <a:pt x="0" y="44"/>
                  </a:lnTo>
                  <a:lnTo>
                    <a:pt x="3024" y="44"/>
                  </a:lnTo>
                  <a:lnTo>
                    <a:pt x="30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4804837" y="3228301"/>
            <a:ext cx="327422" cy="482203"/>
            <a:chOff x="7976323" y="2702776"/>
            <a:chExt cx="436563" cy="642937"/>
          </a:xfrm>
        </p:grpSpPr>
        <p:sp>
          <p:nvSpPr>
            <p:cNvPr id="79" name="Rectangle 78"/>
            <p:cNvSpPr/>
            <p:nvPr/>
          </p:nvSpPr>
          <p:spPr bwMode="auto">
            <a:xfrm>
              <a:off x="8105554" y="3024245"/>
              <a:ext cx="196090" cy="24945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57175" indent="-257175"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</a:pPr>
              <a:endParaRPr lang="en-US" sz="1500" b="1" dirty="0" err="1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4"/>
            <p:cNvGrpSpPr>
              <a:grpSpLocks noChangeAspect="1"/>
            </p:cNvGrpSpPr>
            <p:nvPr/>
          </p:nvGrpSpPr>
          <p:grpSpPr bwMode="auto">
            <a:xfrm>
              <a:off x="7976323" y="2702776"/>
              <a:ext cx="436563" cy="642937"/>
              <a:chOff x="4917" y="2319"/>
              <a:chExt cx="275" cy="405"/>
            </a:xfrm>
          </p:grpSpPr>
          <p:sp>
            <p:nvSpPr>
              <p:cNvPr id="81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4918" y="2319"/>
                <a:ext cx="274" cy="4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" name="Freeform 5"/>
              <p:cNvSpPr>
                <a:spLocks/>
              </p:cNvSpPr>
              <p:nvPr/>
            </p:nvSpPr>
            <p:spPr bwMode="auto">
              <a:xfrm>
                <a:off x="4969" y="2319"/>
                <a:ext cx="170" cy="191"/>
              </a:xfrm>
              <a:custGeom>
                <a:avLst/>
                <a:gdLst>
                  <a:gd name="T0" fmla="*/ 207 w 207"/>
                  <a:gd name="T1" fmla="*/ 214 h 234"/>
                  <a:gd name="T2" fmla="*/ 161 w 207"/>
                  <a:gd name="T3" fmla="*/ 214 h 234"/>
                  <a:gd name="T4" fmla="*/ 161 w 207"/>
                  <a:gd name="T5" fmla="*/ 102 h 234"/>
                  <a:gd name="T6" fmla="*/ 104 w 207"/>
                  <a:gd name="T7" fmla="*/ 45 h 234"/>
                  <a:gd name="T8" fmla="*/ 46 w 207"/>
                  <a:gd name="T9" fmla="*/ 102 h 234"/>
                  <a:gd name="T10" fmla="*/ 46 w 207"/>
                  <a:gd name="T11" fmla="*/ 234 h 234"/>
                  <a:gd name="T12" fmla="*/ 0 w 207"/>
                  <a:gd name="T13" fmla="*/ 234 h 234"/>
                  <a:gd name="T14" fmla="*/ 0 w 207"/>
                  <a:gd name="T15" fmla="*/ 102 h 234"/>
                  <a:gd name="T16" fmla="*/ 104 w 207"/>
                  <a:gd name="T17" fmla="*/ 0 h 234"/>
                  <a:gd name="T18" fmla="*/ 207 w 207"/>
                  <a:gd name="T19" fmla="*/ 102 h 234"/>
                  <a:gd name="T20" fmla="*/ 207 w 207"/>
                  <a:gd name="T21" fmla="*/ 214 h 234"/>
                  <a:gd name="T22" fmla="*/ 207 w 207"/>
                  <a:gd name="T23" fmla="*/ 21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7" h="234">
                    <a:moveTo>
                      <a:pt x="207" y="214"/>
                    </a:moveTo>
                    <a:cubicBezTo>
                      <a:pt x="161" y="214"/>
                      <a:pt x="161" y="214"/>
                      <a:pt x="161" y="214"/>
                    </a:cubicBezTo>
                    <a:cubicBezTo>
                      <a:pt x="161" y="190"/>
                      <a:pt x="161" y="102"/>
                      <a:pt x="161" y="102"/>
                    </a:cubicBezTo>
                    <a:cubicBezTo>
                      <a:pt x="161" y="72"/>
                      <a:pt x="134" y="45"/>
                      <a:pt x="104" y="45"/>
                    </a:cubicBezTo>
                    <a:cubicBezTo>
                      <a:pt x="73" y="45"/>
                      <a:pt x="46" y="72"/>
                      <a:pt x="46" y="102"/>
                    </a:cubicBezTo>
                    <a:cubicBezTo>
                      <a:pt x="46" y="234"/>
                      <a:pt x="46" y="234"/>
                      <a:pt x="46" y="234"/>
                    </a:cubicBezTo>
                    <a:cubicBezTo>
                      <a:pt x="0" y="234"/>
                      <a:pt x="0" y="234"/>
                      <a:pt x="0" y="234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0" y="45"/>
                      <a:pt x="46" y="0"/>
                      <a:pt x="104" y="0"/>
                    </a:cubicBezTo>
                    <a:cubicBezTo>
                      <a:pt x="161" y="0"/>
                      <a:pt x="207" y="45"/>
                      <a:pt x="207" y="102"/>
                    </a:cubicBezTo>
                    <a:cubicBezTo>
                      <a:pt x="207" y="214"/>
                      <a:pt x="207" y="214"/>
                      <a:pt x="207" y="214"/>
                    </a:cubicBezTo>
                    <a:cubicBezTo>
                      <a:pt x="207" y="214"/>
                      <a:pt x="207" y="214"/>
                      <a:pt x="207" y="214"/>
                    </a:cubicBez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" name="Freeform 6"/>
              <p:cNvSpPr>
                <a:spLocks noEditPoints="1"/>
              </p:cNvSpPr>
              <p:nvPr/>
            </p:nvSpPr>
            <p:spPr bwMode="auto">
              <a:xfrm>
                <a:off x="4917" y="2470"/>
                <a:ext cx="275" cy="253"/>
              </a:xfrm>
              <a:custGeom>
                <a:avLst/>
                <a:gdLst>
                  <a:gd name="T0" fmla="*/ 0 w 334"/>
                  <a:gd name="T1" fmla="*/ 0 h 309"/>
                  <a:gd name="T2" fmla="*/ 0 w 334"/>
                  <a:gd name="T3" fmla="*/ 309 h 309"/>
                  <a:gd name="T4" fmla="*/ 334 w 334"/>
                  <a:gd name="T5" fmla="*/ 309 h 309"/>
                  <a:gd name="T6" fmla="*/ 334 w 334"/>
                  <a:gd name="T7" fmla="*/ 0 h 309"/>
                  <a:gd name="T8" fmla="*/ 0 w 334"/>
                  <a:gd name="T9" fmla="*/ 0 h 309"/>
                  <a:gd name="T10" fmla="*/ 181 w 334"/>
                  <a:gd name="T11" fmla="*/ 165 h 309"/>
                  <a:gd name="T12" fmla="*/ 181 w 334"/>
                  <a:gd name="T13" fmla="*/ 229 h 309"/>
                  <a:gd name="T14" fmla="*/ 152 w 334"/>
                  <a:gd name="T15" fmla="*/ 229 h 309"/>
                  <a:gd name="T16" fmla="*/ 152 w 334"/>
                  <a:gd name="T17" fmla="*/ 165 h 309"/>
                  <a:gd name="T18" fmla="*/ 128 w 334"/>
                  <a:gd name="T19" fmla="*/ 130 h 309"/>
                  <a:gd name="T20" fmla="*/ 167 w 334"/>
                  <a:gd name="T21" fmla="*/ 92 h 309"/>
                  <a:gd name="T22" fmla="*/ 205 w 334"/>
                  <a:gd name="T23" fmla="*/ 130 h 309"/>
                  <a:gd name="T24" fmla="*/ 181 w 334"/>
                  <a:gd name="T25" fmla="*/ 165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4" h="309">
                    <a:moveTo>
                      <a:pt x="0" y="0"/>
                    </a:moveTo>
                    <a:cubicBezTo>
                      <a:pt x="0" y="309"/>
                      <a:pt x="0" y="309"/>
                      <a:pt x="0" y="309"/>
                    </a:cubicBezTo>
                    <a:cubicBezTo>
                      <a:pt x="334" y="309"/>
                      <a:pt x="334" y="309"/>
                      <a:pt x="334" y="309"/>
                    </a:cubicBezTo>
                    <a:cubicBezTo>
                      <a:pt x="334" y="0"/>
                      <a:pt x="334" y="0"/>
                      <a:pt x="334" y="0"/>
                    </a:cubicBezTo>
                    <a:lnTo>
                      <a:pt x="0" y="0"/>
                    </a:lnTo>
                    <a:close/>
                    <a:moveTo>
                      <a:pt x="181" y="165"/>
                    </a:moveTo>
                    <a:cubicBezTo>
                      <a:pt x="181" y="165"/>
                      <a:pt x="181" y="165"/>
                      <a:pt x="181" y="229"/>
                    </a:cubicBezTo>
                    <a:cubicBezTo>
                      <a:pt x="181" y="229"/>
                      <a:pt x="181" y="229"/>
                      <a:pt x="152" y="229"/>
                    </a:cubicBezTo>
                    <a:cubicBezTo>
                      <a:pt x="152" y="229"/>
                      <a:pt x="152" y="229"/>
                      <a:pt x="152" y="165"/>
                    </a:cubicBezTo>
                    <a:cubicBezTo>
                      <a:pt x="138" y="162"/>
                      <a:pt x="128" y="148"/>
                      <a:pt x="128" y="130"/>
                    </a:cubicBezTo>
                    <a:cubicBezTo>
                      <a:pt x="128" y="109"/>
                      <a:pt x="145" y="92"/>
                      <a:pt x="167" y="92"/>
                    </a:cubicBezTo>
                    <a:cubicBezTo>
                      <a:pt x="188" y="92"/>
                      <a:pt x="205" y="109"/>
                      <a:pt x="205" y="130"/>
                    </a:cubicBezTo>
                    <a:cubicBezTo>
                      <a:pt x="205" y="148"/>
                      <a:pt x="195" y="162"/>
                      <a:pt x="181" y="165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" name="Freeform 7"/>
              <p:cNvSpPr>
                <a:spLocks/>
              </p:cNvSpPr>
              <p:nvPr/>
            </p:nvSpPr>
            <p:spPr bwMode="auto">
              <a:xfrm>
                <a:off x="4917" y="2470"/>
                <a:ext cx="275" cy="253"/>
              </a:xfrm>
              <a:custGeom>
                <a:avLst/>
                <a:gdLst>
                  <a:gd name="T0" fmla="*/ 128 w 334"/>
                  <a:gd name="T1" fmla="*/ 130 h 309"/>
                  <a:gd name="T2" fmla="*/ 167 w 334"/>
                  <a:gd name="T3" fmla="*/ 92 h 309"/>
                  <a:gd name="T4" fmla="*/ 204 w 334"/>
                  <a:gd name="T5" fmla="*/ 120 h 309"/>
                  <a:gd name="T6" fmla="*/ 334 w 334"/>
                  <a:gd name="T7" fmla="*/ 0 h 309"/>
                  <a:gd name="T8" fmla="*/ 0 w 334"/>
                  <a:gd name="T9" fmla="*/ 0 h 309"/>
                  <a:gd name="T10" fmla="*/ 0 w 334"/>
                  <a:gd name="T11" fmla="*/ 309 h 309"/>
                  <a:gd name="T12" fmla="*/ 152 w 334"/>
                  <a:gd name="T13" fmla="*/ 168 h 309"/>
                  <a:gd name="T14" fmla="*/ 152 w 334"/>
                  <a:gd name="T15" fmla="*/ 165 h 309"/>
                  <a:gd name="T16" fmla="*/ 128 w 334"/>
                  <a:gd name="T17" fmla="*/ 13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4" h="309">
                    <a:moveTo>
                      <a:pt x="128" y="130"/>
                    </a:moveTo>
                    <a:cubicBezTo>
                      <a:pt x="128" y="109"/>
                      <a:pt x="145" y="92"/>
                      <a:pt x="167" y="92"/>
                    </a:cubicBezTo>
                    <a:cubicBezTo>
                      <a:pt x="184" y="92"/>
                      <a:pt x="199" y="104"/>
                      <a:pt x="204" y="120"/>
                    </a:cubicBezTo>
                    <a:cubicBezTo>
                      <a:pt x="334" y="0"/>
                      <a:pt x="334" y="0"/>
                      <a:pt x="33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09"/>
                      <a:pt x="0" y="309"/>
                      <a:pt x="0" y="309"/>
                    </a:cubicBezTo>
                    <a:cubicBezTo>
                      <a:pt x="152" y="168"/>
                      <a:pt x="152" y="168"/>
                      <a:pt x="152" y="168"/>
                    </a:cubicBezTo>
                    <a:cubicBezTo>
                      <a:pt x="152" y="167"/>
                      <a:pt x="152" y="166"/>
                      <a:pt x="152" y="165"/>
                    </a:cubicBezTo>
                    <a:cubicBezTo>
                      <a:pt x="138" y="162"/>
                      <a:pt x="128" y="148"/>
                      <a:pt x="128" y="130"/>
                    </a:cubicBez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</p:grpSp>
      <p:pic>
        <p:nvPicPr>
          <p:cNvPr id="85" name="Picture 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1867" y="4384794"/>
            <a:ext cx="909830" cy="842402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8557" y="4719753"/>
            <a:ext cx="378920" cy="500902"/>
          </a:xfrm>
          <a:prstGeom prst="rect">
            <a:avLst/>
          </a:prstGeom>
        </p:spPr>
      </p:pic>
      <p:sp>
        <p:nvSpPr>
          <p:cNvPr id="87" name="Right Arrow 86"/>
          <p:cNvSpPr/>
          <p:nvPr/>
        </p:nvSpPr>
        <p:spPr bwMode="auto">
          <a:xfrm>
            <a:off x="2898103" y="2940580"/>
            <a:ext cx="1766729" cy="372158"/>
          </a:xfrm>
          <a:prstGeom prst="rightArrow">
            <a:avLst>
              <a:gd name="adj1" fmla="val 50000"/>
              <a:gd name="adj2" fmla="val 101282"/>
            </a:avLst>
          </a:prstGeom>
          <a:solidFill>
            <a:srgbClr val="505050"/>
          </a:solidFill>
          <a:ln w="25400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500" kern="0" spc="-38" dirty="0"/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3">
            <a:lum bright="20000" contrast="-20000"/>
          </a:blip>
          <a:stretch>
            <a:fillRect/>
          </a:stretch>
        </p:blipFill>
        <p:spPr>
          <a:xfrm>
            <a:off x="2240086" y="4719753"/>
            <a:ext cx="378920" cy="50090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">
            <a:lum bright="20000" contrast="-20000"/>
          </a:blip>
          <a:stretch>
            <a:fillRect/>
          </a:stretch>
        </p:blipFill>
        <p:spPr>
          <a:xfrm>
            <a:off x="2915005" y="3323463"/>
            <a:ext cx="378920" cy="500902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>
          <a:xfrm>
            <a:off x="4997641" y="1849791"/>
            <a:ext cx="1265026" cy="429348"/>
          </a:xfrm>
          <a:prstGeom prst="rect">
            <a:avLst/>
          </a:prstGeom>
          <a:noFill/>
        </p:spPr>
        <p:txBody>
          <a:bodyPr wrap="none" lIns="137160" tIns="109728" rIns="137160" bIns="109728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b="1" spc="-38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History table</a:t>
            </a: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0817" y="3075411"/>
            <a:ext cx="881675" cy="88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02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2.96296E-6 L -4.79167E-6 -0.25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2.96296E-6 L 5E-6 -0.25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3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000"/>
                            </p:stCondLst>
                            <p:childTnLst>
                              <p:par>
                                <p:cTn id="65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7.40741E-7 L 0.19688 7.40741E-7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4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000"/>
                            </p:stCondLst>
                            <p:childTnLst>
                              <p:par>
                                <p:cTn id="6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2" dur="2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6" grpId="2" animBg="1"/>
      <p:bldP spid="6" grpId="3" animBg="1"/>
      <p:bldP spid="7" grpId="0"/>
      <p:bldP spid="8" grpId="0"/>
      <p:bldP spid="9" grpId="0"/>
      <p:bldP spid="8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system-time work?</a:t>
            </a:r>
            <a:endParaRPr lang="pl-PL" dirty="0"/>
          </a:p>
        </p:txBody>
      </p:sp>
      <p:sp>
        <p:nvSpPr>
          <p:cNvPr id="4" name="Rectangle 3"/>
          <p:cNvSpPr/>
          <p:nvPr/>
        </p:nvSpPr>
        <p:spPr bwMode="auto">
          <a:xfrm>
            <a:off x="302238" y="1600200"/>
            <a:ext cx="6960344" cy="2497362"/>
          </a:xfrm>
          <a:prstGeom prst="rect">
            <a:avLst/>
          </a:prstGeom>
          <a:solidFill>
            <a:schemeClr val="accent6">
              <a:alpha val="0"/>
            </a:schemeClr>
          </a:solidFill>
          <a:ln w="25400">
            <a:solidFill>
              <a:schemeClr val="accent4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34290" bIns="6858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574" fontAlgn="base">
              <a:spcBef>
                <a:spcPct val="0"/>
              </a:spcBef>
              <a:spcAft>
                <a:spcPct val="0"/>
              </a:spcAft>
            </a:pPr>
            <a:endParaRPr lang="en-US" sz="135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3816" y="1792641"/>
            <a:ext cx="2441887" cy="429348"/>
          </a:xfrm>
          <a:prstGeom prst="rect">
            <a:avLst/>
          </a:prstGeom>
          <a:noFill/>
        </p:spPr>
        <p:txBody>
          <a:bodyPr wrap="none" lIns="137160" tIns="109728" rIns="137160" bIns="109728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spc="-38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</a:t>
            </a:r>
            <a:r>
              <a:rPr lang="en-US" sz="1500" spc="-38">
                <a:latin typeface="Segoe UI Semilight" panose="020B0402040204020203" pitchFamily="34" charset="0"/>
                <a:cs typeface="Segoe UI Semilight" panose="020B0402040204020203" pitchFamily="34" charset="0"/>
              </a:rPr>
              <a:t>emporal </a:t>
            </a:r>
            <a:r>
              <a:rPr lang="en-US" sz="1500" spc="-38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able (actual data)</a:t>
            </a:r>
          </a:p>
        </p:txBody>
      </p:sp>
      <p:sp>
        <p:nvSpPr>
          <p:cNvPr id="6" name="Right Arrow 5"/>
          <p:cNvSpPr/>
          <p:nvPr/>
        </p:nvSpPr>
        <p:spPr bwMode="auto">
          <a:xfrm rot="5400000">
            <a:off x="1182357" y="4272157"/>
            <a:ext cx="1406822" cy="372158"/>
          </a:xfrm>
          <a:prstGeom prst="rightArrow">
            <a:avLst>
              <a:gd name="adj1" fmla="val 50000"/>
              <a:gd name="adj2" fmla="val 101282"/>
            </a:avLst>
          </a:prstGeom>
          <a:solidFill>
            <a:srgbClr val="505050"/>
          </a:solidFill>
          <a:ln w="25400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500" kern="0" spc="-38" dirty="0"/>
          </a:p>
        </p:txBody>
      </p:sp>
      <p:sp>
        <p:nvSpPr>
          <p:cNvPr id="7" name="Rectangle 6"/>
          <p:cNvSpPr/>
          <p:nvPr/>
        </p:nvSpPr>
        <p:spPr>
          <a:xfrm>
            <a:off x="3620511" y="4446099"/>
            <a:ext cx="3642071" cy="577081"/>
          </a:xfrm>
          <a:prstGeom prst="rect">
            <a:avLst/>
          </a:prstGeom>
        </p:spPr>
        <p:txBody>
          <a:bodyPr wrap="square" lIns="137160">
            <a:spAutoFit/>
          </a:bodyPr>
          <a:lstStyle/>
          <a:p>
            <a:pPr>
              <a:spcBef>
                <a:spcPts val="1500"/>
              </a:spcBef>
              <a:defRPr/>
            </a:pPr>
            <a:r>
              <a:rPr lang="en-US" kern="0" spc="-38" dirty="0">
                <a:latin typeface="+mj-lt"/>
              </a:rPr>
              <a:t>Temporal queries *</a:t>
            </a:r>
            <a:r>
              <a:rPr lang="en-US" sz="1350" kern="0" spc="-38" dirty="0">
                <a:latin typeface="+mj-lt"/>
              </a:rPr>
              <a:t> </a:t>
            </a:r>
            <a:br>
              <a:rPr lang="en-US" sz="1350" kern="0" spc="-38" dirty="0">
                <a:latin typeface="+mj-lt"/>
              </a:rPr>
            </a:br>
            <a:r>
              <a:rPr lang="en-US" sz="1350" kern="0" spc="-38" dirty="0">
                <a:latin typeface="+mj-lt"/>
              </a:rPr>
              <a:t>(Time travel, etc.)</a:t>
            </a:r>
            <a:endParaRPr lang="en-US" kern="0" spc="-38" dirty="0">
              <a:latin typeface="+mj-lt"/>
            </a:endParaRPr>
          </a:p>
        </p:txBody>
      </p:sp>
      <p:grpSp>
        <p:nvGrpSpPr>
          <p:cNvPr id="8" name="Group 11"/>
          <p:cNvGrpSpPr>
            <a:grpSpLocks noChangeAspect="1"/>
          </p:cNvGrpSpPr>
          <p:nvPr/>
        </p:nvGrpSpPr>
        <p:grpSpPr bwMode="auto">
          <a:xfrm>
            <a:off x="4602892" y="2371579"/>
            <a:ext cx="1859759" cy="1418189"/>
            <a:chOff x="1141" y="423"/>
            <a:chExt cx="3024" cy="2306"/>
          </a:xfrm>
        </p:grpSpPr>
        <p:sp>
          <p:nvSpPr>
            <p:cNvPr id="9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141" y="424"/>
              <a:ext cx="3024" cy="2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" name="Rectangle 12"/>
            <p:cNvSpPr>
              <a:spLocks noChangeArrowheads="1"/>
            </p:cNvSpPr>
            <p:nvPr/>
          </p:nvSpPr>
          <p:spPr bwMode="auto">
            <a:xfrm>
              <a:off x="1141" y="423"/>
              <a:ext cx="3024" cy="226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" name="Rectangle 13"/>
            <p:cNvSpPr>
              <a:spLocks noChangeArrowheads="1"/>
            </p:cNvSpPr>
            <p:nvPr/>
          </p:nvSpPr>
          <p:spPr bwMode="auto">
            <a:xfrm>
              <a:off x="1141" y="423"/>
              <a:ext cx="3024" cy="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Rectangle 14"/>
            <p:cNvSpPr>
              <a:spLocks noChangeArrowheads="1"/>
            </p:cNvSpPr>
            <p:nvPr/>
          </p:nvSpPr>
          <p:spPr bwMode="auto">
            <a:xfrm>
              <a:off x="1249" y="540"/>
              <a:ext cx="2803" cy="3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" name="Rectangle 15"/>
            <p:cNvSpPr>
              <a:spLocks noChangeArrowheads="1"/>
            </p:cNvSpPr>
            <p:nvPr/>
          </p:nvSpPr>
          <p:spPr bwMode="auto">
            <a:xfrm>
              <a:off x="1249" y="959"/>
              <a:ext cx="389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1651" y="959"/>
              <a:ext cx="389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2053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Rectangle 18"/>
            <p:cNvSpPr>
              <a:spLocks noChangeArrowheads="1"/>
            </p:cNvSpPr>
            <p:nvPr/>
          </p:nvSpPr>
          <p:spPr bwMode="auto">
            <a:xfrm>
              <a:off x="2455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Rectangle 19"/>
            <p:cNvSpPr>
              <a:spLocks noChangeArrowheads="1"/>
            </p:cNvSpPr>
            <p:nvPr/>
          </p:nvSpPr>
          <p:spPr bwMode="auto">
            <a:xfrm>
              <a:off x="2857" y="959"/>
              <a:ext cx="391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Rectangle 20"/>
            <p:cNvSpPr>
              <a:spLocks noChangeArrowheads="1"/>
            </p:cNvSpPr>
            <p:nvPr/>
          </p:nvSpPr>
          <p:spPr bwMode="auto">
            <a:xfrm>
              <a:off x="3260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Rectangle 21"/>
            <p:cNvSpPr>
              <a:spLocks noChangeArrowheads="1"/>
            </p:cNvSpPr>
            <p:nvPr/>
          </p:nvSpPr>
          <p:spPr bwMode="auto">
            <a:xfrm>
              <a:off x="3662" y="959"/>
              <a:ext cx="390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Rectangle 22"/>
            <p:cNvSpPr>
              <a:spLocks noChangeArrowheads="1"/>
            </p:cNvSpPr>
            <p:nvPr/>
          </p:nvSpPr>
          <p:spPr bwMode="auto">
            <a:xfrm>
              <a:off x="1249" y="1369"/>
              <a:ext cx="389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Rectangle 23"/>
            <p:cNvSpPr>
              <a:spLocks noChangeArrowheads="1"/>
            </p:cNvSpPr>
            <p:nvPr/>
          </p:nvSpPr>
          <p:spPr bwMode="auto">
            <a:xfrm>
              <a:off x="1651" y="1369"/>
              <a:ext cx="389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Rectangle 24"/>
            <p:cNvSpPr>
              <a:spLocks noChangeArrowheads="1"/>
            </p:cNvSpPr>
            <p:nvPr/>
          </p:nvSpPr>
          <p:spPr bwMode="auto">
            <a:xfrm>
              <a:off x="2053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Rectangle 25"/>
            <p:cNvSpPr>
              <a:spLocks noChangeArrowheads="1"/>
            </p:cNvSpPr>
            <p:nvPr/>
          </p:nvSpPr>
          <p:spPr bwMode="auto">
            <a:xfrm>
              <a:off x="2455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Rectangle 26"/>
            <p:cNvSpPr>
              <a:spLocks noChangeArrowheads="1"/>
            </p:cNvSpPr>
            <p:nvPr/>
          </p:nvSpPr>
          <p:spPr bwMode="auto">
            <a:xfrm>
              <a:off x="2857" y="1369"/>
              <a:ext cx="391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Rectangle 27"/>
            <p:cNvSpPr>
              <a:spLocks noChangeArrowheads="1"/>
            </p:cNvSpPr>
            <p:nvPr/>
          </p:nvSpPr>
          <p:spPr bwMode="auto">
            <a:xfrm>
              <a:off x="3260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Rectangle 28"/>
            <p:cNvSpPr>
              <a:spLocks noChangeArrowheads="1"/>
            </p:cNvSpPr>
            <p:nvPr/>
          </p:nvSpPr>
          <p:spPr bwMode="auto">
            <a:xfrm>
              <a:off x="3662" y="1369"/>
              <a:ext cx="390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Rectangle 29"/>
            <p:cNvSpPr>
              <a:spLocks noChangeArrowheads="1"/>
            </p:cNvSpPr>
            <p:nvPr/>
          </p:nvSpPr>
          <p:spPr bwMode="auto">
            <a:xfrm>
              <a:off x="1249" y="1780"/>
              <a:ext cx="389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8" name="Rectangle 30"/>
            <p:cNvSpPr>
              <a:spLocks noChangeArrowheads="1"/>
            </p:cNvSpPr>
            <p:nvPr/>
          </p:nvSpPr>
          <p:spPr bwMode="auto">
            <a:xfrm>
              <a:off x="1651" y="1780"/>
              <a:ext cx="389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9" name="Rectangle 31"/>
            <p:cNvSpPr>
              <a:spLocks noChangeArrowheads="1"/>
            </p:cNvSpPr>
            <p:nvPr/>
          </p:nvSpPr>
          <p:spPr bwMode="auto">
            <a:xfrm>
              <a:off x="2053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0" name="Rectangle 32"/>
            <p:cNvSpPr>
              <a:spLocks noChangeArrowheads="1"/>
            </p:cNvSpPr>
            <p:nvPr/>
          </p:nvSpPr>
          <p:spPr bwMode="auto">
            <a:xfrm>
              <a:off x="2455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1" name="Rectangle 33"/>
            <p:cNvSpPr>
              <a:spLocks noChangeArrowheads="1"/>
            </p:cNvSpPr>
            <p:nvPr/>
          </p:nvSpPr>
          <p:spPr bwMode="auto">
            <a:xfrm>
              <a:off x="2857" y="1780"/>
              <a:ext cx="391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2" name="Rectangle 34"/>
            <p:cNvSpPr>
              <a:spLocks noChangeArrowheads="1"/>
            </p:cNvSpPr>
            <p:nvPr/>
          </p:nvSpPr>
          <p:spPr bwMode="auto">
            <a:xfrm>
              <a:off x="3260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3" name="Rectangle 35"/>
            <p:cNvSpPr>
              <a:spLocks noChangeArrowheads="1"/>
            </p:cNvSpPr>
            <p:nvPr/>
          </p:nvSpPr>
          <p:spPr bwMode="auto">
            <a:xfrm>
              <a:off x="3662" y="1780"/>
              <a:ext cx="390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4" name="Rectangle 36"/>
            <p:cNvSpPr>
              <a:spLocks noChangeArrowheads="1"/>
            </p:cNvSpPr>
            <p:nvPr/>
          </p:nvSpPr>
          <p:spPr bwMode="auto">
            <a:xfrm>
              <a:off x="1249" y="2191"/>
              <a:ext cx="389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5" name="Rectangle 37"/>
            <p:cNvSpPr>
              <a:spLocks noChangeArrowheads="1"/>
            </p:cNvSpPr>
            <p:nvPr/>
          </p:nvSpPr>
          <p:spPr bwMode="auto">
            <a:xfrm>
              <a:off x="1651" y="2191"/>
              <a:ext cx="389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6" name="Rectangle 38"/>
            <p:cNvSpPr>
              <a:spLocks noChangeArrowheads="1"/>
            </p:cNvSpPr>
            <p:nvPr/>
          </p:nvSpPr>
          <p:spPr bwMode="auto">
            <a:xfrm>
              <a:off x="2053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7" name="Rectangle 39"/>
            <p:cNvSpPr>
              <a:spLocks noChangeArrowheads="1"/>
            </p:cNvSpPr>
            <p:nvPr/>
          </p:nvSpPr>
          <p:spPr bwMode="auto">
            <a:xfrm>
              <a:off x="2455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8" name="Rectangle 40"/>
            <p:cNvSpPr>
              <a:spLocks noChangeArrowheads="1"/>
            </p:cNvSpPr>
            <p:nvPr/>
          </p:nvSpPr>
          <p:spPr bwMode="auto">
            <a:xfrm>
              <a:off x="2857" y="2191"/>
              <a:ext cx="391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9" name="Rectangle 41"/>
            <p:cNvSpPr>
              <a:spLocks noChangeArrowheads="1"/>
            </p:cNvSpPr>
            <p:nvPr/>
          </p:nvSpPr>
          <p:spPr bwMode="auto">
            <a:xfrm>
              <a:off x="3260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0" name="Rectangle 42"/>
            <p:cNvSpPr>
              <a:spLocks noChangeArrowheads="1"/>
            </p:cNvSpPr>
            <p:nvPr/>
          </p:nvSpPr>
          <p:spPr bwMode="auto">
            <a:xfrm>
              <a:off x="3662" y="2191"/>
              <a:ext cx="390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1" name="Freeform 44"/>
            <p:cNvSpPr>
              <a:spLocks/>
            </p:cNvSpPr>
            <p:nvPr/>
          </p:nvSpPr>
          <p:spPr bwMode="auto">
            <a:xfrm>
              <a:off x="1141" y="2685"/>
              <a:ext cx="3024" cy="44"/>
            </a:xfrm>
            <a:custGeom>
              <a:avLst/>
              <a:gdLst>
                <a:gd name="T0" fmla="*/ 3024 w 3024"/>
                <a:gd name="T1" fmla="*/ 0 h 44"/>
                <a:gd name="T2" fmla="*/ 3024 w 3024"/>
                <a:gd name="T3" fmla="*/ 0 h 44"/>
                <a:gd name="T4" fmla="*/ 0 w 3024"/>
                <a:gd name="T5" fmla="*/ 0 h 44"/>
                <a:gd name="T6" fmla="*/ 0 w 3024"/>
                <a:gd name="T7" fmla="*/ 44 h 44"/>
                <a:gd name="T8" fmla="*/ 3024 w 3024"/>
                <a:gd name="T9" fmla="*/ 44 h 44"/>
                <a:gd name="T10" fmla="*/ 3024 w 3024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4" h="44">
                  <a:moveTo>
                    <a:pt x="3024" y="0"/>
                  </a:moveTo>
                  <a:lnTo>
                    <a:pt x="3024" y="0"/>
                  </a:lnTo>
                  <a:lnTo>
                    <a:pt x="0" y="0"/>
                  </a:lnTo>
                  <a:lnTo>
                    <a:pt x="0" y="44"/>
                  </a:lnTo>
                  <a:lnTo>
                    <a:pt x="3024" y="44"/>
                  </a:lnTo>
                  <a:lnTo>
                    <a:pt x="30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4723738" y="3171151"/>
            <a:ext cx="327422" cy="482203"/>
            <a:chOff x="7976323" y="2702776"/>
            <a:chExt cx="436563" cy="642937"/>
          </a:xfrm>
        </p:grpSpPr>
        <p:sp>
          <p:nvSpPr>
            <p:cNvPr id="43" name="Rectangle 42"/>
            <p:cNvSpPr/>
            <p:nvPr/>
          </p:nvSpPr>
          <p:spPr bwMode="auto">
            <a:xfrm>
              <a:off x="8105554" y="3024245"/>
              <a:ext cx="196090" cy="24945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57175" indent="-257175"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</a:pPr>
              <a:endParaRPr lang="en-US" sz="1500" b="1" dirty="0" err="1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4" name="Group 4"/>
            <p:cNvGrpSpPr>
              <a:grpSpLocks noChangeAspect="1"/>
            </p:cNvGrpSpPr>
            <p:nvPr/>
          </p:nvGrpSpPr>
          <p:grpSpPr bwMode="auto">
            <a:xfrm>
              <a:off x="7976323" y="2702776"/>
              <a:ext cx="436563" cy="642937"/>
              <a:chOff x="4917" y="2319"/>
              <a:chExt cx="275" cy="405"/>
            </a:xfrm>
          </p:grpSpPr>
          <p:sp>
            <p:nvSpPr>
              <p:cNvPr id="4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4918" y="2319"/>
                <a:ext cx="274" cy="4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6" name="Freeform 5"/>
              <p:cNvSpPr>
                <a:spLocks/>
              </p:cNvSpPr>
              <p:nvPr/>
            </p:nvSpPr>
            <p:spPr bwMode="auto">
              <a:xfrm>
                <a:off x="4969" y="2319"/>
                <a:ext cx="170" cy="191"/>
              </a:xfrm>
              <a:custGeom>
                <a:avLst/>
                <a:gdLst>
                  <a:gd name="T0" fmla="*/ 207 w 207"/>
                  <a:gd name="T1" fmla="*/ 214 h 234"/>
                  <a:gd name="T2" fmla="*/ 161 w 207"/>
                  <a:gd name="T3" fmla="*/ 214 h 234"/>
                  <a:gd name="T4" fmla="*/ 161 w 207"/>
                  <a:gd name="T5" fmla="*/ 102 h 234"/>
                  <a:gd name="T6" fmla="*/ 104 w 207"/>
                  <a:gd name="T7" fmla="*/ 45 h 234"/>
                  <a:gd name="T8" fmla="*/ 46 w 207"/>
                  <a:gd name="T9" fmla="*/ 102 h 234"/>
                  <a:gd name="T10" fmla="*/ 46 w 207"/>
                  <a:gd name="T11" fmla="*/ 234 h 234"/>
                  <a:gd name="T12" fmla="*/ 0 w 207"/>
                  <a:gd name="T13" fmla="*/ 234 h 234"/>
                  <a:gd name="T14" fmla="*/ 0 w 207"/>
                  <a:gd name="T15" fmla="*/ 102 h 234"/>
                  <a:gd name="T16" fmla="*/ 104 w 207"/>
                  <a:gd name="T17" fmla="*/ 0 h 234"/>
                  <a:gd name="T18" fmla="*/ 207 w 207"/>
                  <a:gd name="T19" fmla="*/ 102 h 234"/>
                  <a:gd name="T20" fmla="*/ 207 w 207"/>
                  <a:gd name="T21" fmla="*/ 214 h 234"/>
                  <a:gd name="T22" fmla="*/ 207 w 207"/>
                  <a:gd name="T23" fmla="*/ 21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7" h="234">
                    <a:moveTo>
                      <a:pt x="207" y="214"/>
                    </a:moveTo>
                    <a:cubicBezTo>
                      <a:pt x="161" y="214"/>
                      <a:pt x="161" y="214"/>
                      <a:pt x="161" y="214"/>
                    </a:cubicBezTo>
                    <a:cubicBezTo>
                      <a:pt x="161" y="190"/>
                      <a:pt x="161" y="102"/>
                      <a:pt x="161" y="102"/>
                    </a:cubicBezTo>
                    <a:cubicBezTo>
                      <a:pt x="161" y="72"/>
                      <a:pt x="134" y="45"/>
                      <a:pt x="104" y="45"/>
                    </a:cubicBezTo>
                    <a:cubicBezTo>
                      <a:pt x="73" y="45"/>
                      <a:pt x="46" y="72"/>
                      <a:pt x="46" y="102"/>
                    </a:cubicBezTo>
                    <a:cubicBezTo>
                      <a:pt x="46" y="234"/>
                      <a:pt x="46" y="234"/>
                      <a:pt x="46" y="234"/>
                    </a:cubicBezTo>
                    <a:cubicBezTo>
                      <a:pt x="0" y="234"/>
                      <a:pt x="0" y="234"/>
                      <a:pt x="0" y="234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0" y="45"/>
                      <a:pt x="46" y="0"/>
                      <a:pt x="104" y="0"/>
                    </a:cubicBezTo>
                    <a:cubicBezTo>
                      <a:pt x="161" y="0"/>
                      <a:pt x="207" y="45"/>
                      <a:pt x="207" y="102"/>
                    </a:cubicBezTo>
                    <a:cubicBezTo>
                      <a:pt x="207" y="214"/>
                      <a:pt x="207" y="214"/>
                      <a:pt x="207" y="214"/>
                    </a:cubicBezTo>
                    <a:cubicBezTo>
                      <a:pt x="207" y="214"/>
                      <a:pt x="207" y="214"/>
                      <a:pt x="207" y="214"/>
                    </a:cubicBez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" name="Freeform 6"/>
              <p:cNvSpPr>
                <a:spLocks noEditPoints="1"/>
              </p:cNvSpPr>
              <p:nvPr/>
            </p:nvSpPr>
            <p:spPr bwMode="auto">
              <a:xfrm>
                <a:off x="4917" y="2470"/>
                <a:ext cx="275" cy="253"/>
              </a:xfrm>
              <a:custGeom>
                <a:avLst/>
                <a:gdLst>
                  <a:gd name="T0" fmla="*/ 0 w 334"/>
                  <a:gd name="T1" fmla="*/ 0 h 309"/>
                  <a:gd name="T2" fmla="*/ 0 w 334"/>
                  <a:gd name="T3" fmla="*/ 309 h 309"/>
                  <a:gd name="T4" fmla="*/ 334 w 334"/>
                  <a:gd name="T5" fmla="*/ 309 h 309"/>
                  <a:gd name="T6" fmla="*/ 334 w 334"/>
                  <a:gd name="T7" fmla="*/ 0 h 309"/>
                  <a:gd name="T8" fmla="*/ 0 w 334"/>
                  <a:gd name="T9" fmla="*/ 0 h 309"/>
                  <a:gd name="T10" fmla="*/ 181 w 334"/>
                  <a:gd name="T11" fmla="*/ 165 h 309"/>
                  <a:gd name="T12" fmla="*/ 181 w 334"/>
                  <a:gd name="T13" fmla="*/ 229 h 309"/>
                  <a:gd name="T14" fmla="*/ 152 w 334"/>
                  <a:gd name="T15" fmla="*/ 229 h 309"/>
                  <a:gd name="T16" fmla="*/ 152 w 334"/>
                  <a:gd name="T17" fmla="*/ 165 h 309"/>
                  <a:gd name="T18" fmla="*/ 128 w 334"/>
                  <a:gd name="T19" fmla="*/ 130 h 309"/>
                  <a:gd name="T20" fmla="*/ 167 w 334"/>
                  <a:gd name="T21" fmla="*/ 92 h 309"/>
                  <a:gd name="T22" fmla="*/ 205 w 334"/>
                  <a:gd name="T23" fmla="*/ 130 h 309"/>
                  <a:gd name="T24" fmla="*/ 181 w 334"/>
                  <a:gd name="T25" fmla="*/ 165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4" h="309">
                    <a:moveTo>
                      <a:pt x="0" y="0"/>
                    </a:moveTo>
                    <a:cubicBezTo>
                      <a:pt x="0" y="309"/>
                      <a:pt x="0" y="309"/>
                      <a:pt x="0" y="309"/>
                    </a:cubicBezTo>
                    <a:cubicBezTo>
                      <a:pt x="334" y="309"/>
                      <a:pt x="334" y="309"/>
                      <a:pt x="334" y="309"/>
                    </a:cubicBezTo>
                    <a:cubicBezTo>
                      <a:pt x="334" y="0"/>
                      <a:pt x="334" y="0"/>
                      <a:pt x="334" y="0"/>
                    </a:cubicBezTo>
                    <a:lnTo>
                      <a:pt x="0" y="0"/>
                    </a:lnTo>
                    <a:close/>
                    <a:moveTo>
                      <a:pt x="181" y="165"/>
                    </a:moveTo>
                    <a:cubicBezTo>
                      <a:pt x="181" y="165"/>
                      <a:pt x="181" y="165"/>
                      <a:pt x="181" y="229"/>
                    </a:cubicBezTo>
                    <a:cubicBezTo>
                      <a:pt x="181" y="229"/>
                      <a:pt x="181" y="229"/>
                      <a:pt x="152" y="229"/>
                    </a:cubicBezTo>
                    <a:cubicBezTo>
                      <a:pt x="152" y="229"/>
                      <a:pt x="152" y="229"/>
                      <a:pt x="152" y="165"/>
                    </a:cubicBezTo>
                    <a:cubicBezTo>
                      <a:pt x="138" y="162"/>
                      <a:pt x="128" y="148"/>
                      <a:pt x="128" y="130"/>
                    </a:cubicBezTo>
                    <a:cubicBezTo>
                      <a:pt x="128" y="109"/>
                      <a:pt x="145" y="92"/>
                      <a:pt x="167" y="92"/>
                    </a:cubicBezTo>
                    <a:cubicBezTo>
                      <a:pt x="188" y="92"/>
                      <a:pt x="205" y="109"/>
                      <a:pt x="205" y="130"/>
                    </a:cubicBezTo>
                    <a:cubicBezTo>
                      <a:pt x="205" y="148"/>
                      <a:pt x="195" y="162"/>
                      <a:pt x="181" y="165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" name="Freeform 7"/>
              <p:cNvSpPr>
                <a:spLocks/>
              </p:cNvSpPr>
              <p:nvPr/>
            </p:nvSpPr>
            <p:spPr bwMode="auto">
              <a:xfrm>
                <a:off x="4917" y="2470"/>
                <a:ext cx="275" cy="253"/>
              </a:xfrm>
              <a:custGeom>
                <a:avLst/>
                <a:gdLst>
                  <a:gd name="T0" fmla="*/ 128 w 334"/>
                  <a:gd name="T1" fmla="*/ 130 h 309"/>
                  <a:gd name="T2" fmla="*/ 167 w 334"/>
                  <a:gd name="T3" fmla="*/ 92 h 309"/>
                  <a:gd name="T4" fmla="*/ 204 w 334"/>
                  <a:gd name="T5" fmla="*/ 120 h 309"/>
                  <a:gd name="T6" fmla="*/ 334 w 334"/>
                  <a:gd name="T7" fmla="*/ 0 h 309"/>
                  <a:gd name="T8" fmla="*/ 0 w 334"/>
                  <a:gd name="T9" fmla="*/ 0 h 309"/>
                  <a:gd name="T10" fmla="*/ 0 w 334"/>
                  <a:gd name="T11" fmla="*/ 309 h 309"/>
                  <a:gd name="T12" fmla="*/ 152 w 334"/>
                  <a:gd name="T13" fmla="*/ 168 h 309"/>
                  <a:gd name="T14" fmla="*/ 152 w 334"/>
                  <a:gd name="T15" fmla="*/ 165 h 309"/>
                  <a:gd name="T16" fmla="*/ 128 w 334"/>
                  <a:gd name="T17" fmla="*/ 13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4" h="309">
                    <a:moveTo>
                      <a:pt x="128" y="130"/>
                    </a:moveTo>
                    <a:cubicBezTo>
                      <a:pt x="128" y="109"/>
                      <a:pt x="145" y="92"/>
                      <a:pt x="167" y="92"/>
                    </a:cubicBezTo>
                    <a:cubicBezTo>
                      <a:pt x="184" y="92"/>
                      <a:pt x="199" y="104"/>
                      <a:pt x="204" y="120"/>
                    </a:cubicBezTo>
                    <a:cubicBezTo>
                      <a:pt x="334" y="0"/>
                      <a:pt x="334" y="0"/>
                      <a:pt x="33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09"/>
                      <a:pt x="0" y="309"/>
                      <a:pt x="0" y="309"/>
                    </a:cubicBezTo>
                    <a:cubicBezTo>
                      <a:pt x="152" y="168"/>
                      <a:pt x="152" y="168"/>
                      <a:pt x="152" y="168"/>
                    </a:cubicBezTo>
                    <a:cubicBezTo>
                      <a:pt x="152" y="167"/>
                      <a:pt x="152" y="166"/>
                      <a:pt x="152" y="165"/>
                    </a:cubicBezTo>
                    <a:cubicBezTo>
                      <a:pt x="138" y="162"/>
                      <a:pt x="128" y="148"/>
                      <a:pt x="128" y="130"/>
                    </a:cubicBez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</p:grpSp>
      <p:pic>
        <p:nvPicPr>
          <p:cNvPr id="49" name="Picture 4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0769" y="4327644"/>
            <a:ext cx="909830" cy="842402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4916543" y="1792641"/>
            <a:ext cx="1265026" cy="429348"/>
          </a:xfrm>
          <a:prstGeom prst="rect">
            <a:avLst/>
          </a:prstGeom>
          <a:noFill/>
        </p:spPr>
        <p:txBody>
          <a:bodyPr wrap="none" lIns="137160" tIns="109728" rIns="137160" bIns="109728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spc="-38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History table</a:t>
            </a: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9719" y="3018261"/>
            <a:ext cx="881675" cy="881273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140340" y="4446100"/>
            <a:ext cx="3642071" cy="646331"/>
          </a:xfrm>
          <a:prstGeom prst="rect">
            <a:avLst/>
          </a:prstGeom>
        </p:spPr>
        <p:txBody>
          <a:bodyPr wrap="square" lIns="137160">
            <a:spAutoFit/>
          </a:bodyPr>
          <a:lstStyle/>
          <a:p>
            <a:pPr>
              <a:spcBef>
                <a:spcPts val="1500"/>
              </a:spcBef>
              <a:defRPr/>
            </a:pPr>
            <a:r>
              <a:rPr lang="en-US" kern="0" spc="-38">
                <a:latin typeface="+mj-lt"/>
              </a:rPr>
              <a:t>Regular queries </a:t>
            </a:r>
            <a:br>
              <a:rPr lang="en-US" kern="0" spc="-38">
                <a:latin typeface="+mj-lt"/>
              </a:rPr>
            </a:br>
            <a:r>
              <a:rPr lang="en-US" kern="0" spc="-38">
                <a:latin typeface="+mj-lt"/>
              </a:rPr>
              <a:t>(current data)</a:t>
            </a:r>
          </a:p>
        </p:txBody>
      </p:sp>
      <p:sp>
        <p:nvSpPr>
          <p:cNvPr id="53" name="Rectangle 52"/>
          <p:cNvSpPr/>
          <p:nvPr/>
        </p:nvSpPr>
        <p:spPr>
          <a:xfrm>
            <a:off x="2770109" y="3354982"/>
            <a:ext cx="1824788" cy="507831"/>
          </a:xfrm>
          <a:prstGeom prst="rect">
            <a:avLst/>
          </a:prstGeom>
        </p:spPr>
        <p:txBody>
          <a:bodyPr wrap="square" lIns="6858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500" kern="0" spc="-38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* Include historical version</a:t>
            </a: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4">
            <a:lum bright="20000" contrast="-20000"/>
          </a:blip>
          <a:stretch>
            <a:fillRect/>
          </a:stretch>
        </p:blipFill>
        <p:spPr>
          <a:xfrm>
            <a:off x="2158987" y="4662603"/>
            <a:ext cx="378920" cy="500902"/>
          </a:xfrm>
          <a:prstGeom prst="rect">
            <a:avLst/>
          </a:prstGeom>
        </p:spPr>
      </p:pic>
      <p:sp>
        <p:nvSpPr>
          <p:cNvPr id="55" name="Bent Arrow 54"/>
          <p:cNvSpPr/>
          <p:nvPr/>
        </p:nvSpPr>
        <p:spPr bwMode="auto">
          <a:xfrm rot="10800000">
            <a:off x="1887752" y="3753066"/>
            <a:ext cx="3779358" cy="265027"/>
          </a:xfrm>
          <a:prstGeom prst="bentArrow">
            <a:avLst>
              <a:gd name="adj1" fmla="val 38152"/>
              <a:gd name="adj2" fmla="val 36508"/>
              <a:gd name="adj3" fmla="val 50000"/>
              <a:gd name="adj4" fmla="val 43750"/>
            </a:avLst>
          </a:prstGeom>
          <a:solidFill>
            <a:schemeClr val="bg1"/>
          </a:solidFill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34978" rIns="0" bIns="34978" numCol="1" rtlCol="0" anchor="ctr" anchorCtr="0" compatLnSpc="1">
            <a:prstTxWarp prst="textNoShape">
              <a:avLst/>
            </a:prstTxWarp>
          </a:bodyPr>
          <a:lstStyle/>
          <a:p>
            <a:pPr algn="ctr" defTabSz="699299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gradFill>
                <a:gsLst>
                  <a:gs pos="16814">
                    <a:srgbClr val="FFFFFF"/>
                  </a:gs>
                  <a:gs pos="46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56" name="Group 11"/>
          <p:cNvGrpSpPr>
            <a:grpSpLocks noChangeAspect="1"/>
          </p:cNvGrpSpPr>
          <p:nvPr/>
        </p:nvGrpSpPr>
        <p:grpSpPr bwMode="auto">
          <a:xfrm>
            <a:off x="913426" y="2371579"/>
            <a:ext cx="1859759" cy="1418189"/>
            <a:chOff x="1141" y="423"/>
            <a:chExt cx="3024" cy="2306"/>
          </a:xfrm>
        </p:grpSpPr>
        <p:sp>
          <p:nvSpPr>
            <p:cNvPr id="57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141" y="424"/>
              <a:ext cx="3024" cy="2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8" name="Rectangle 12"/>
            <p:cNvSpPr>
              <a:spLocks noChangeArrowheads="1"/>
            </p:cNvSpPr>
            <p:nvPr/>
          </p:nvSpPr>
          <p:spPr bwMode="auto">
            <a:xfrm>
              <a:off x="1141" y="423"/>
              <a:ext cx="3024" cy="226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9" name="Rectangle 13"/>
            <p:cNvSpPr>
              <a:spLocks noChangeArrowheads="1"/>
            </p:cNvSpPr>
            <p:nvPr/>
          </p:nvSpPr>
          <p:spPr bwMode="auto">
            <a:xfrm>
              <a:off x="1141" y="423"/>
              <a:ext cx="3024" cy="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0" name="Rectangle 14"/>
            <p:cNvSpPr>
              <a:spLocks noChangeArrowheads="1"/>
            </p:cNvSpPr>
            <p:nvPr/>
          </p:nvSpPr>
          <p:spPr bwMode="auto">
            <a:xfrm>
              <a:off x="1249" y="540"/>
              <a:ext cx="2803" cy="3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1" name="Rectangle 15"/>
            <p:cNvSpPr>
              <a:spLocks noChangeArrowheads="1"/>
            </p:cNvSpPr>
            <p:nvPr/>
          </p:nvSpPr>
          <p:spPr bwMode="auto">
            <a:xfrm>
              <a:off x="1249" y="959"/>
              <a:ext cx="389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2" name="Rectangle 16"/>
            <p:cNvSpPr>
              <a:spLocks noChangeArrowheads="1"/>
            </p:cNvSpPr>
            <p:nvPr/>
          </p:nvSpPr>
          <p:spPr bwMode="auto">
            <a:xfrm>
              <a:off x="1651" y="959"/>
              <a:ext cx="389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3" name="Rectangle 17"/>
            <p:cNvSpPr>
              <a:spLocks noChangeArrowheads="1"/>
            </p:cNvSpPr>
            <p:nvPr/>
          </p:nvSpPr>
          <p:spPr bwMode="auto">
            <a:xfrm>
              <a:off x="2053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4" name="Rectangle 18"/>
            <p:cNvSpPr>
              <a:spLocks noChangeArrowheads="1"/>
            </p:cNvSpPr>
            <p:nvPr/>
          </p:nvSpPr>
          <p:spPr bwMode="auto">
            <a:xfrm>
              <a:off x="2455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5" name="Rectangle 19"/>
            <p:cNvSpPr>
              <a:spLocks noChangeArrowheads="1"/>
            </p:cNvSpPr>
            <p:nvPr/>
          </p:nvSpPr>
          <p:spPr bwMode="auto">
            <a:xfrm>
              <a:off x="2857" y="959"/>
              <a:ext cx="391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6" name="Rectangle 20"/>
            <p:cNvSpPr>
              <a:spLocks noChangeArrowheads="1"/>
            </p:cNvSpPr>
            <p:nvPr/>
          </p:nvSpPr>
          <p:spPr bwMode="auto">
            <a:xfrm>
              <a:off x="3260" y="95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7" name="Rectangle 21"/>
            <p:cNvSpPr>
              <a:spLocks noChangeArrowheads="1"/>
            </p:cNvSpPr>
            <p:nvPr/>
          </p:nvSpPr>
          <p:spPr bwMode="auto">
            <a:xfrm>
              <a:off x="3662" y="959"/>
              <a:ext cx="390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8" name="Rectangle 22"/>
            <p:cNvSpPr>
              <a:spLocks noChangeArrowheads="1"/>
            </p:cNvSpPr>
            <p:nvPr/>
          </p:nvSpPr>
          <p:spPr bwMode="auto">
            <a:xfrm>
              <a:off x="1249" y="1369"/>
              <a:ext cx="389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9" name="Rectangle 23"/>
            <p:cNvSpPr>
              <a:spLocks noChangeArrowheads="1"/>
            </p:cNvSpPr>
            <p:nvPr/>
          </p:nvSpPr>
          <p:spPr bwMode="auto">
            <a:xfrm>
              <a:off x="1651" y="1369"/>
              <a:ext cx="389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0" name="Rectangle 24"/>
            <p:cNvSpPr>
              <a:spLocks noChangeArrowheads="1"/>
            </p:cNvSpPr>
            <p:nvPr/>
          </p:nvSpPr>
          <p:spPr bwMode="auto">
            <a:xfrm>
              <a:off x="2053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1" name="Rectangle 25"/>
            <p:cNvSpPr>
              <a:spLocks noChangeArrowheads="1"/>
            </p:cNvSpPr>
            <p:nvPr/>
          </p:nvSpPr>
          <p:spPr bwMode="auto">
            <a:xfrm>
              <a:off x="2455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2" name="Rectangle 26"/>
            <p:cNvSpPr>
              <a:spLocks noChangeArrowheads="1"/>
            </p:cNvSpPr>
            <p:nvPr/>
          </p:nvSpPr>
          <p:spPr bwMode="auto">
            <a:xfrm>
              <a:off x="2857" y="1369"/>
              <a:ext cx="391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3" name="Rectangle 27"/>
            <p:cNvSpPr>
              <a:spLocks noChangeArrowheads="1"/>
            </p:cNvSpPr>
            <p:nvPr/>
          </p:nvSpPr>
          <p:spPr bwMode="auto">
            <a:xfrm>
              <a:off x="3260" y="1369"/>
              <a:ext cx="390" cy="39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4" name="Rectangle 28"/>
            <p:cNvSpPr>
              <a:spLocks noChangeArrowheads="1"/>
            </p:cNvSpPr>
            <p:nvPr/>
          </p:nvSpPr>
          <p:spPr bwMode="auto">
            <a:xfrm>
              <a:off x="3662" y="1369"/>
              <a:ext cx="390" cy="390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5" name="Rectangle 29"/>
            <p:cNvSpPr>
              <a:spLocks noChangeArrowheads="1"/>
            </p:cNvSpPr>
            <p:nvPr/>
          </p:nvSpPr>
          <p:spPr bwMode="auto">
            <a:xfrm>
              <a:off x="1249" y="1780"/>
              <a:ext cx="389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6" name="Rectangle 30"/>
            <p:cNvSpPr>
              <a:spLocks noChangeArrowheads="1"/>
            </p:cNvSpPr>
            <p:nvPr/>
          </p:nvSpPr>
          <p:spPr bwMode="auto">
            <a:xfrm>
              <a:off x="1651" y="1780"/>
              <a:ext cx="389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7" name="Rectangle 31"/>
            <p:cNvSpPr>
              <a:spLocks noChangeArrowheads="1"/>
            </p:cNvSpPr>
            <p:nvPr/>
          </p:nvSpPr>
          <p:spPr bwMode="auto">
            <a:xfrm>
              <a:off x="2053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2455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9" name="Rectangle 33"/>
            <p:cNvSpPr>
              <a:spLocks noChangeArrowheads="1"/>
            </p:cNvSpPr>
            <p:nvPr/>
          </p:nvSpPr>
          <p:spPr bwMode="auto">
            <a:xfrm>
              <a:off x="2857" y="1780"/>
              <a:ext cx="391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0" name="Rectangle 34"/>
            <p:cNvSpPr>
              <a:spLocks noChangeArrowheads="1"/>
            </p:cNvSpPr>
            <p:nvPr/>
          </p:nvSpPr>
          <p:spPr bwMode="auto">
            <a:xfrm>
              <a:off x="3260" y="1780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3662" y="1780"/>
              <a:ext cx="390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2" name="Rectangle 36"/>
            <p:cNvSpPr>
              <a:spLocks noChangeArrowheads="1"/>
            </p:cNvSpPr>
            <p:nvPr/>
          </p:nvSpPr>
          <p:spPr bwMode="auto">
            <a:xfrm>
              <a:off x="1249" y="2191"/>
              <a:ext cx="389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3" name="Rectangle 37"/>
            <p:cNvSpPr>
              <a:spLocks noChangeArrowheads="1"/>
            </p:cNvSpPr>
            <p:nvPr/>
          </p:nvSpPr>
          <p:spPr bwMode="auto">
            <a:xfrm>
              <a:off x="1651" y="2191"/>
              <a:ext cx="389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4" name="Rectangle 38"/>
            <p:cNvSpPr>
              <a:spLocks noChangeArrowheads="1"/>
            </p:cNvSpPr>
            <p:nvPr/>
          </p:nvSpPr>
          <p:spPr bwMode="auto">
            <a:xfrm>
              <a:off x="2053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5" name="Rectangle 39"/>
            <p:cNvSpPr>
              <a:spLocks noChangeArrowheads="1"/>
            </p:cNvSpPr>
            <p:nvPr/>
          </p:nvSpPr>
          <p:spPr bwMode="auto">
            <a:xfrm>
              <a:off x="2455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6" name="Rectangle 40"/>
            <p:cNvSpPr>
              <a:spLocks noChangeArrowheads="1"/>
            </p:cNvSpPr>
            <p:nvPr/>
          </p:nvSpPr>
          <p:spPr bwMode="auto">
            <a:xfrm>
              <a:off x="2857" y="2191"/>
              <a:ext cx="391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7" name="Rectangle 41"/>
            <p:cNvSpPr>
              <a:spLocks noChangeArrowheads="1"/>
            </p:cNvSpPr>
            <p:nvPr/>
          </p:nvSpPr>
          <p:spPr bwMode="auto">
            <a:xfrm>
              <a:off x="3260" y="2191"/>
              <a:ext cx="390" cy="38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8" name="Rectangle 42"/>
            <p:cNvSpPr>
              <a:spLocks noChangeArrowheads="1"/>
            </p:cNvSpPr>
            <p:nvPr/>
          </p:nvSpPr>
          <p:spPr bwMode="auto">
            <a:xfrm>
              <a:off x="3662" y="2191"/>
              <a:ext cx="390" cy="389"/>
            </a:xfrm>
            <a:prstGeom prst="rect">
              <a:avLst/>
            </a:prstGeom>
            <a:solidFill>
              <a:srgbClr val="8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9" name="Freeform 44"/>
            <p:cNvSpPr>
              <a:spLocks/>
            </p:cNvSpPr>
            <p:nvPr/>
          </p:nvSpPr>
          <p:spPr bwMode="auto">
            <a:xfrm>
              <a:off x="1141" y="2685"/>
              <a:ext cx="3024" cy="44"/>
            </a:xfrm>
            <a:custGeom>
              <a:avLst/>
              <a:gdLst>
                <a:gd name="T0" fmla="*/ 3024 w 3024"/>
                <a:gd name="T1" fmla="*/ 0 h 44"/>
                <a:gd name="T2" fmla="*/ 3024 w 3024"/>
                <a:gd name="T3" fmla="*/ 0 h 44"/>
                <a:gd name="T4" fmla="*/ 0 w 3024"/>
                <a:gd name="T5" fmla="*/ 0 h 44"/>
                <a:gd name="T6" fmla="*/ 0 w 3024"/>
                <a:gd name="T7" fmla="*/ 44 h 44"/>
                <a:gd name="T8" fmla="*/ 3024 w 3024"/>
                <a:gd name="T9" fmla="*/ 44 h 44"/>
                <a:gd name="T10" fmla="*/ 3024 w 3024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4" h="44">
                  <a:moveTo>
                    <a:pt x="3024" y="0"/>
                  </a:moveTo>
                  <a:lnTo>
                    <a:pt x="3024" y="0"/>
                  </a:lnTo>
                  <a:lnTo>
                    <a:pt x="0" y="0"/>
                  </a:lnTo>
                  <a:lnTo>
                    <a:pt x="0" y="44"/>
                  </a:lnTo>
                  <a:lnTo>
                    <a:pt x="3024" y="44"/>
                  </a:lnTo>
                  <a:lnTo>
                    <a:pt x="30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771876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22" presetClass="entr" presetSubtype="1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6" grpId="2" animBg="1"/>
      <p:bldP spid="7" grpId="0"/>
      <p:bldP spid="52" grpId="0"/>
      <p:bldP spid="52" grpId="1"/>
      <p:bldP spid="53" grpId="0"/>
      <p:bldP spid="5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l data continuum</a:t>
            </a:r>
            <a:endParaRPr lang="pl-PL" dirty="0"/>
          </a:p>
        </p:txBody>
      </p:sp>
      <p:sp>
        <p:nvSpPr>
          <p:cNvPr id="22" name="Can 21"/>
          <p:cNvSpPr/>
          <p:nvPr/>
        </p:nvSpPr>
        <p:spPr bwMode="auto">
          <a:xfrm>
            <a:off x="1511403" y="2513979"/>
            <a:ext cx="2830285" cy="2372750"/>
          </a:xfrm>
          <a:prstGeom prst="ca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6" tIns="34288" rIns="34288" bIns="6857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510" fontAlgn="base">
              <a:spcBef>
                <a:spcPct val="0"/>
              </a:spcBef>
              <a:spcAft>
                <a:spcPct val="0"/>
              </a:spcAft>
            </a:pPr>
            <a:endParaRPr lang="en-US" sz="135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2813" y="4074173"/>
            <a:ext cx="409899" cy="409841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728" y="3832709"/>
            <a:ext cx="785187" cy="785076"/>
          </a:xfrm>
          <a:prstGeom prst="rect">
            <a:avLst/>
          </a:prstGeom>
        </p:spPr>
      </p:pic>
      <p:sp>
        <p:nvSpPr>
          <p:cNvPr id="25" name="Striped Right Arrow 24"/>
          <p:cNvSpPr/>
          <p:nvPr/>
        </p:nvSpPr>
        <p:spPr bwMode="auto">
          <a:xfrm>
            <a:off x="2265686" y="3989240"/>
            <a:ext cx="578358" cy="573265"/>
          </a:xfrm>
          <a:prstGeom prst="stripedRightArrow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6" tIns="34288" rIns="34288" bIns="6857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510" fontAlgn="base">
              <a:spcBef>
                <a:spcPct val="0"/>
              </a:spcBef>
              <a:spcAft>
                <a:spcPct val="0"/>
              </a:spcAft>
            </a:pPr>
            <a:endParaRPr lang="en-US" sz="135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709217" y="4094162"/>
            <a:ext cx="733806" cy="363422"/>
          </a:xfrm>
          <a:prstGeom prst="rightArrow">
            <a:avLst/>
          </a:prstGeom>
          <a:solidFill>
            <a:srgbClr val="00B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6" tIns="34288" rIns="34288" bIns="6857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510" fontAlgn="base">
              <a:spcBef>
                <a:spcPct val="0"/>
              </a:spcBef>
              <a:spcAft>
                <a:spcPct val="0"/>
              </a:spcAft>
            </a:pPr>
            <a:endParaRPr lang="en-US" sz="135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Can 26"/>
          <p:cNvSpPr/>
          <p:nvPr/>
        </p:nvSpPr>
        <p:spPr bwMode="auto">
          <a:xfrm>
            <a:off x="1530562" y="2467519"/>
            <a:ext cx="6257165" cy="2507617"/>
          </a:xfrm>
          <a:prstGeom prst="can">
            <a:avLst/>
          </a:prstGeom>
          <a:gradFill flip="none" rotWithShape="1">
            <a:gsLst>
              <a:gs pos="35406">
                <a:srgbClr val="FFFF00"/>
              </a:gs>
              <a:gs pos="9000">
                <a:srgbClr val="FFC000"/>
              </a:gs>
              <a:gs pos="0">
                <a:schemeClr val="accent1">
                  <a:lumMod val="5000"/>
                  <a:lumOff val="9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  <a:gs pos="100000">
                <a:schemeClr val="tx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6" tIns="34288" rIns="34288" bIns="6857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510" fontAlgn="base">
              <a:spcBef>
                <a:spcPct val="0"/>
              </a:spcBef>
              <a:spcAft>
                <a:spcPct val="0"/>
              </a:spcAft>
            </a:pPr>
            <a:endParaRPr lang="en-US" sz="135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7441" y="4122211"/>
            <a:ext cx="409899" cy="40984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6929" y="3880748"/>
            <a:ext cx="785187" cy="785076"/>
          </a:xfrm>
          <a:prstGeom prst="rect">
            <a:avLst/>
          </a:prstGeom>
        </p:spPr>
      </p:pic>
      <p:sp>
        <p:nvSpPr>
          <p:cNvPr id="30" name="Striped Right Arrow 29"/>
          <p:cNvSpPr/>
          <p:nvPr/>
        </p:nvSpPr>
        <p:spPr bwMode="auto">
          <a:xfrm>
            <a:off x="2230314" y="4037279"/>
            <a:ext cx="578358" cy="573265"/>
          </a:xfrm>
          <a:prstGeom prst="stripedRightArrow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6" tIns="34288" rIns="34288" bIns="6857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510" fontAlgn="base">
              <a:spcBef>
                <a:spcPct val="0"/>
              </a:spcBef>
              <a:spcAft>
                <a:spcPct val="0"/>
              </a:spcAft>
            </a:pPr>
            <a:endParaRPr lang="en-US" sz="135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469" y="3574774"/>
            <a:ext cx="1080320" cy="1080167"/>
          </a:xfrm>
          <a:prstGeom prst="rect">
            <a:avLst/>
          </a:prstGeom>
        </p:spPr>
      </p:pic>
      <p:sp>
        <p:nvSpPr>
          <p:cNvPr id="32" name="Striped Right Arrow 31"/>
          <p:cNvSpPr/>
          <p:nvPr/>
        </p:nvSpPr>
        <p:spPr bwMode="auto">
          <a:xfrm>
            <a:off x="4287946" y="4037279"/>
            <a:ext cx="1587638" cy="532729"/>
          </a:xfrm>
          <a:prstGeom prst="stripedRightArrow">
            <a:avLst/>
          </a:prstGeom>
          <a:solidFill>
            <a:schemeClr val="accent6"/>
          </a:solidFill>
          <a:ln w="25400" cmpd="sng">
            <a:solidFill>
              <a:schemeClr val="accent1">
                <a:shade val="95000"/>
                <a:satMod val="105000"/>
              </a:schemeClr>
            </a:solidFill>
            <a:prstDash val="lg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6" tIns="34288" rIns="34288" bIns="6857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510" fontAlgn="base">
              <a:spcBef>
                <a:spcPct val="0"/>
              </a:spcBef>
              <a:spcAft>
                <a:spcPct val="0"/>
              </a:spcAft>
            </a:pPr>
            <a:endParaRPr lang="en-US" sz="135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Rounded Rectangle 32"/>
          <p:cNvSpPr/>
          <p:nvPr/>
        </p:nvSpPr>
        <p:spPr bwMode="auto">
          <a:xfrm>
            <a:off x="3916850" y="2000250"/>
            <a:ext cx="5152583" cy="3161023"/>
          </a:xfrm>
          <a:prstGeom prst="roundRect">
            <a:avLst/>
          </a:prstGeom>
          <a:solidFill>
            <a:srgbClr val="FFFFFF">
              <a:alpha val="0"/>
            </a:srgbClr>
          </a:solidFill>
          <a:ln w="31750">
            <a:noFill/>
            <a:prstDash val="dash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6" tIns="34288" rIns="34288" bIns="68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685510" fontAlgn="base">
              <a:spcBef>
                <a:spcPct val="0"/>
              </a:spcBef>
              <a:spcAft>
                <a:spcPct val="0"/>
              </a:spcAft>
            </a:pPr>
            <a:r>
              <a:rPr lang="en-US" spc="-38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SQL Database</a:t>
            </a:r>
          </a:p>
        </p:txBody>
      </p:sp>
      <p:sp>
        <p:nvSpPr>
          <p:cNvPr id="34" name="Freeform 33"/>
          <p:cNvSpPr/>
          <p:nvPr>
            <p:custDataLst>
              <p:tags r:id="rId1"/>
            </p:custDataLst>
          </p:nvPr>
        </p:nvSpPr>
        <p:spPr>
          <a:xfrm>
            <a:off x="1543369" y="3687538"/>
            <a:ext cx="450755" cy="427319"/>
          </a:xfrm>
          <a:custGeom>
            <a:avLst/>
            <a:gdLst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95948 w 723010"/>
              <a:gd name="connsiteY3" fmla="*/ 275793 h 685518"/>
              <a:gd name="connsiteX4" fmla="*/ 444503 w 723010"/>
              <a:gd name="connsiteY4" fmla="*/ 318664 h 685518"/>
              <a:gd name="connsiteX5" fmla="*/ 441083 w 723010"/>
              <a:gd name="connsiteY5" fmla="*/ 329412 h 685518"/>
              <a:gd name="connsiteX6" fmla="*/ 351142 w 723010"/>
              <a:gd name="connsiteY6" fmla="*/ 455167 h 685518"/>
              <a:gd name="connsiteX7" fmla="*/ 270880 w 723010"/>
              <a:gd name="connsiteY7" fmla="*/ 606267 h 685518"/>
              <a:gd name="connsiteX8" fmla="*/ 159341 w 723010"/>
              <a:gd name="connsiteY8" fmla="*/ 685518 h 685518"/>
              <a:gd name="connsiteX9" fmla="*/ 0 w 723010"/>
              <a:gd name="connsiteY9" fmla="*/ 408140 h 685518"/>
              <a:gd name="connsiteX10" fmla="*/ 91621 w 723010"/>
              <a:gd name="connsiteY10" fmla="*/ 354646 h 685518"/>
              <a:gd name="connsiteX11" fmla="*/ 207143 w 723010"/>
              <a:gd name="connsiteY11" fmla="*/ 497297 h 685518"/>
              <a:gd name="connsiteX12" fmla="*/ 411963 w 723010"/>
              <a:gd name="connsiteY12" fmla="*/ 238484 h 685518"/>
              <a:gd name="connsiteX13" fmla="*/ 333474 w 723010"/>
              <a:gd name="connsiteY13" fmla="*/ 238484 h 685518"/>
              <a:gd name="connsiteX14" fmla="*/ 394052 w 723010"/>
              <a:gd name="connsiteY14" fmla="*/ 191519 h 685518"/>
              <a:gd name="connsiteX15" fmla="*/ 459749 w 723010"/>
              <a:gd name="connsiteY15" fmla="*/ 191519 h 685518"/>
              <a:gd name="connsiteX16" fmla="*/ 711059 w 723010"/>
              <a:gd name="connsiteY16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95948 w 723010"/>
              <a:gd name="connsiteY3" fmla="*/ 275793 h 685518"/>
              <a:gd name="connsiteX4" fmla="*/ 444503 w 723010"/>
              <a:gd name="connsiteY4" fmla="*/ 318664 h 685518"/>
              <a:gd name="connsiteX5" fmla="*/ 441083 w 723010"/>
              <a:gd name="connsiteY5" fmla="*/ 329412 h 685518"/>
              <a:gd name="connsiteX6" fmla="*/ 351142 w 723010"/>
              <a:gd name="connsiteY6" fmla="*/ 455167 h 685518"/>
              <a:gd name="connsiteX7" fmla="*/ 270880 w 723010"/>
              <a:gd name="connsiteY7" fmla="*/ 606267 h 685518"/>
              <a:gd name="connsiteX8" fmla="*/ 159341 w 723010"/>
              <a:gd name="connsiteY8" fmla="*/ 685518 h 685518"/>
              <a:gd name="connsiteX9" fmla="*/ 0 w 723010"/>
              <a:gd name="connsiteY9" fmla="*/ 408140 h 685518"/>
              <a:gd name="connsiteX10" fmla="*/ 91621 w 723010"/>
              <a:gd name="connsiteY10" fmla="*/ 354646 h 685518"/>
              <a:gd name="connsiteX11" fmla="*/ 207143 w 723010"/>
              <a:gd name="connsiteY11" fmla="*/ 497297 h 685518"/>
              <a:gd name="connsiteX12" fmla="*/ 411963 w 723010"/>
              <a:gd name="connsiteY12" fmla="*/ 238484 h 685518"/>
              <a:gd name="connsiteX13" fmla="*/ 394052 w 723010"/>
              <a:gd name="connsiteY13" fmla="*/ 191519 h 685518"/>
              <a:gd name="connsiteX14" fmla="*/ 459749 w 723010"/>
              <a:gd name="connsiteY14" fmla="*/ 191519 h 685518"/>
              <a:gd name="connsiteX15" fmla="*/ 711059 w 723010"/>
              <a:gd name="connsiteY15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95948 w 723010"/>
              <a:gd name="connsiteY3" fmla="*/ 275793 h 685518"/>
              <a:gd name="connsiteX4" fmla="*/ 444503 w 723010"/>
              <a:gd name="connsiteY4" fmla="*/ 318664 h 685518"/>
              <a:gd name="connsiteX5" fmla="*/ 441083 w 723010"/>
              <a:gd name="connsiteY5" fmla="*/ 329412 h 685518"/>
              <a:gd name="connsiteX6" fmla="*/ 351142 w 723010"/>
              <a:gd name="connsiteY6" fmla="*/ 455167 h 685518"/>
              <a:gd name="connsiteX7" fmla="*/ 270880 w 723010"/>
              <a:gd name="connsiteY7" fmla="*/ 606267 h 685518"/>
              <a:gd name="connsiteX8" fmla="*/ 159341 w 723010"/>
              <a:gd name="connsiteY8" fmla="*/ 685518 h 685518"/>
              <a:gd name="connsiteX9" fmla="*/ 0 w 723010"/>
              <a:gd name="connsiteY9" fmla="*/ 408140 h 685518"/>
              <a:gd name="connsiteX10" fmla="*/ 91621 w 723010"/>
              <a:gd name="connsiteY10" fmla="*/ 354646 h 685518"/>
              <a:gd name="connsiteX11" fmla="*/ 207143 w 723010"/>
              <a:gd name="connsiteY11" fmla="*/ 497297 h 685518"/>
              <a:gd name="connsiteX12" fmla="*/ 411963 w 723010"/>
              <a:gd name="connsiteY12" fmla="*/ 238484 h 685518"/>
              <a:gd name="connsiteX13" fmla="*/ 459749 w 723010"/>
              <a:gd name="connsiteY13" fmla="*/ 191519 h 685518"/>
              <a:gd name="connsiteX14" fmla="*/ 711059 w 723010"/>
              <a:gd name="connsiteY14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44503 w 723010"/>
              <a:gd name="connsiteY3" fmla="*/ 318664 h 685518"/>
              <a:gd name="connsiteX4" fmla="*/ 441083 w 723010"/>
              <a:gd name="connsiteY4" fmla="*/ 329412 h 685518"/>
              <a:gd name="connsiteX5" fmla="*/ 351142 w 723010"/>
              <a:gd name="connsiteY5" fmla="*/ 455167 h 685518"/>
              <a:gd name="connsiteX6" fmla="*/ 270880 w 723010"/>
              <a:gd name="connsiteY6" fmla="*/ 606267 h 685518"/>
              <a:gd name="connsiteX7" fmla="*/ 159341 w 723010"/>
              <a:gd name="connsiteY7" fmla="*/ 685518 h 685518"/>
              <a:gd name="connsiteX8" fmla="*/ 0 w 723010"/>
              <a:gd name="connsiteY8" fmla="*/ 408140 h 685518"/>
              <a:gd name="connsiteX9" fmla="*/ 91621 w 723010"/>
              <a:gd name="connsiteY9" fmla="*/ 354646 h 685518"/>
              <a:gd name="connsiteX10" fmla="*/ 207143 w 723010"/>
              <a:gd name="connsiteY10" fmla="*/ 497297 h 685518"/>
              <a:gd name="connsiteX11" fmla="*/ 411963 w 723010"/>
              <a:gd name="connsiteY11" fmla="*/ 238484 h 685518"/>
              <a:gd name="connsiteX12" fmla="*/ 459749 w 723010"/>
              <a:gd name="connsiteY12" fmla="*/ 191519 h 685518"/>
              <a:gd name="connsiteX13" fmla="*/ 711059 w 723010"/>
              <a:gd name="connsiteY13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44503 w 723010"/>
              <a:gd name="connsiteY3" fmla="*/ 318664 h 685518"/>
              <a:gd name="connsiteX4" fmla="*/ 351142 w 723010"/>
              <a:gd name="connsiteY4" fmla="*/ 455167 h 685518"/>
              <a:gd name="connsiteX5" fmla="*/ 270880 w 723010"/>
              <a:gd name="connsiteY5" fmla="*/ 606267 h 685518"/>
              <a:gd name="connsiteX6" fmla="*/ 159341 w 723010"/>
              <a:gd name="connsiteY6" fmla="*/ 685518 h 685518"/>
              <a:gd name="connsiteX7" fmla="*/ 0 w 723010"/>
              <a:gd name="connsiteY7" fmla="*/ 408140 h 685518"/>
              <a:gd name="connsiteX8" fmla="*/ 91621 w 723010"/>
              <a:gd name="connsiteY8" fmla="*/ 354646 h 685518"/>
              <a:gd name="connsiteX9" fmla="*/ 207143 w 723010"/>
              <a:gd name="connsiteY9" fmla="*/ 497297 h 685518"/>
              <a:gd name="connsiteX10" fmla="*/ 411963 w 723010"/>
              <a:gd name="connsiteY10" fmla="*/ 238484 h 685518"/>
              <a:gd name="connsiteX11" fmla="*/ 459749 w 723010"/>
              <a:gd name="connsiteY11" fmla="*/ 191519 h 685518"/>
              <a:gd name="connsiteX12" fmla="*/ 711059 w 723010"/>
              <a:gd name="connsiteY12" fmla="*/ 0 h 685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23010" h="685518">
                <a:moveTo>
                  <a:pt x="711059" y="0"/>
                </a:moveTo>
                <a:lnTo>
                  <a:pt x="723010" y="21794"/>
                </a:lnTo>
                <a:cubicBezTo>
                  <a:pt x="642190" y="100164"/>
                  <a:pt x="564806" y="178154"/>
                  <a:pt x="495948" y="261172"/>
                </a:cubicBezTo>
                <a:lnTo>
                  <a:pt x="444503" y="318664"/>
                </a:lnTo>
                <a:lnTo>
                  <a:pt x="351142" y="455167"/>
                </a:lnTo>
                <a:cubicBezTo>
                  <a:pt x="321171" y="503145"/>
                  <a:pt x="294261" y="553324"/>
                  <a:pt x="270880" y="606267"/>
                </a:cubicBezTo>
                <a:lnTo>
                  <a:pt x="159341" y="685518"/>
                </a:lnTo>
                <a:cubicBezTo>
                  <a:pt x="132119" y="571264"/>
                  <a:pt x="80998" y="480786"/>
                  <a:pt x="0" y="408140"/>
                </a:cubicBezTo>
                <a:cubicBezTo>
                  <a:pt x="20581" y="382385"/>
                  <a:pt x="45147" y="364552"/>
                  <a:pt x="91621" y="354646"/>
                </a:cubicBezTo>
                <a:cubicBezTo>
                  <a:pt x="146063" y="360590"/>
                  <a:pt x="196520" y="443803"/>
                  <a:pt x="207143" y="497297"/>
                </a:cubicBezTo>
                <a:cubicBezTo>
                  <a:pt x="268211" y="397578"/>
                  <a:pt x="339176" y="311314"/>
                  <a:pt x="411963" y="238484"/>
                </a:cubicBezTo>
                <a:lnTo>
                  <a:pt x="459749" y="191519"/>
                </a:lnTo>
                <a:cubicBezTo>
                  <a:pt x="549474" y="108091"/>
                  <a:pt x="638583" y="44519"/>
                  <a:pt x="711059" y="0"/>
                </a:cubicBezTo>
                <a:close/>
              </a:path>
            </a:pathLst>
          </a:custGeom>
          <a:solidFill>
            <a:srgbClr val="0078D7"/>
          </a:solidFill>
        </p:spPr>
        <p:txBody>
          <a:bodyPr wrap="square" lIns="69942" tIns="34970" rIns="69942" bIns="34970" rtlCol="0" anchor="t">
            <a:noAutofit/>
          </a:bodyPr>
          <a:lstStyle/>
          <a:p>
            <a:pPr marL="0" lvl="2">
              <a:spcBef>
                <a:spcPts val="689"/>
              </a:spcBef>
              <a:buClr>
                <a:srgbClr val="505050"/>
              </a:buClr>
              <a:defRPr/>
            </a:pPr>
            <a:endParaRPr lang="en-US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35" name="Freeform 34"/>
          <p:cNvSpPr/>
          <p:nvPr>
            <p:custDataLst>
              <p:tags r:id="rId2"/>
            </p:custDataLst>
          </p:nvPr>
        </p:nvSpPr>
        <p:spPr>
          <a:xfrm>
            <a:off x="3066929" y="3446185"/>
            <a:ext cx="450755" cy="427319"/>
          </a:xfrm>
          <a:custGeom>
            <a:avLst/>
            <a:gdLst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95948 w 723010"/>
              <a:gd name="connsiteY3" fmla="*/ 275793 h 685518"/>
              <a:gd name="connsiteX4" fmla="*/ 444503 w 723010"/>
              <a:gd name="connsiteY4" fmla="*/ 318664 h 685518"/>
              <a:gd name="connsiteX5" fmla="*/ 441083 w 723010"/>
              <a:gd name="connsiteY5" fmla="*/ 329412 h 685518"/>
              <a:gd name="connsiteX6" fmla="*/ 351142 w 723010"/>
              <a:gd name="connsiteY6" fmla="*/ 455167 h 685518"/>
              <a:gd name="connsiteX7" fmla="*/ 270880 w 723010"/>
              <a:gd name="connsiteY7" fmla="*/ 606267 h 685518"/>
              <a:gd name="connsiteX8" fmla="*/ 159341 w 723010"/>
              <a:gd name="connsiteY8" fmla="*/ 685518 h 685518"/>
              <a:gd name="connsiteX9" fmla="*/ 0 w 723010"/>
              <a:gd name="connsiteY9" fmla="*/ 408140 h 685518"/>
              <a:gd name="connsiteX10" fmla="*/ 91621 w 723010"/>
              <a:gd name="connsiteY10" fmla="*/ 354646 h 685518"/>
              <a:gd name="connsiteX11" fmla="*/ 207143 w 723010"/>
              <a:gd name="connsiteY11" fmla="*/ 497297 h 685518"/>
              <a:gd name="connsiteX12" fmla="*/ 411963 w 723010"/>
              <a:gd name="connsiteY12" fmla="*/ 238484 h 685518"/>
              <a:gd name="connsiteX13" fmla="*/ 333474 w 723010"/>
              <a:gd name="connsiteY13" fmla="*/ 238484 h 685518"/>
              <a:gd name="connsiteX14" fmla="*/ 394052 w 723010"/>
              <a:gd name="connsiteY14" fmla="*/ 191519 h 685518"/>
              <a:gd name="connsiteX15" fmla="*/ 459749 w 723010"/>
              <a:gd name="connsiteY15" fmla="*/ 191519 h 685518"/>
              <a:gd name="connsiteX16" fmla="*/ 711059 w 723010"/>
              <a:gd name="connsiteY16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95948 w 723010"/>
              <a:gd name="connsiteY3" fmla="*/ 275793 h 685518"/>
              <a:gd name="connsiteX4" fmla="*/ 444503 w 723010"/>
              <a:gd name="connsiteY4" fmla="*/ 318664 h 685518"/>
              <a:gd name="connsiteX5" fmla="*/ 441083 w 723010"/>
              <a:gd name="connsiteY5" fmla="*/ 329412 h 685518"/>
              <a:gd name="connsiteX6" fmla="*/ 351142 w 723010"/>
              <a:gd name="connsiteY6" fmla="*/ 455167 h 685518"/>
              <a:gd name="connsiteX7" fmla="*/ 270880 w 723010"/>
              <a:gd name="connsiteY7" fmla="*/ 606267 h 685518"/>
              <a:gd name="connsiteX8" fmla="*/ 159341 w 723010"/>
              <a:gd name="connsiteY8" fmla="*/ 685518 h 685518"/>
              <a:gd name="connsiteX9" fmla="*/ 0 w 723010"/>
              <a:gd name="connsiteY9" fmla="*/ 408140 h 685518"/>
              <a:gd name="connsiteX10" fmla="*/ 91621 w 723010"/>
              <a:gd name="connsiteY10" fmla="*/ 354646 h 685518"/>
              <a:gd name="connsiteX11" fmla="*/ 207143 w 723010"/>
              <a:gd name="connsiteY11" fmla="*/ 497297 h 685518"/>
              <a:gd name="connsiteX12" fmla="*/ 411963 w 723010"/>
              <a:gd name="connsiteY12" fmla="*/ 238484 h 685518"/>
              <a:gd name="connsiteX13" fmla="*/ 394052 w 723010"/>
              <a:gd name="connsiteY13" fmla="*/ 191519 h 685518"/>
              <a:gd name="connsiteX14" fmla="*/ 459749 w 723010"/>
              <a:gd name="connsiteY14" fmla="*/ 191519 h 685518"/>
              <a:gd name="connsiteX15" fmla="*/ 711059 w 723010"/>
              <a:gd name="connsiteY15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95948 w 723010"/>
              <a:gd name="connsiteY3" fmla="*/ 275793 h 685518"/>
              <a:gd name="connsiteX4" fmla="*/ 444503 w 723010"/>
              <a:gd name="connsiteY4" fmla="*/ 318664 h 685518"/>
              <a:gd name="connsiteX5" fmla="*/ 441083 w 723010"/>
              <a:gd name="connsiteY5" fmla="*/ 329412 h 685518"/>
              <a:gd name="connsiteX6" fmla="*/ 351142 w 723010"/>
              <a:gd name="connsiteY6" fmla="*/ 455167 h 685518"/>
              <a:gd name="connsiteX7" fmla="*/ 270880 w 723010"/>
              <a:gd name="connsiteY7" fmla="*/ 606267 h 685518"/>
              <a:gd name="connsiteX8" fmla="*/ 159341 w 723010"/>
              <a:gd name="connsiteY8" fmla="*/ 685518 h 685518"/>
              <a:gd name="connsiteX9" fmla="*/ 0 w 723010"/>
              <a:gd name="connsiteY9" fmla="*/ 408140 h 685518"/>
              <a:gd name="connsiteX10" fmla="*/ 91621 w 723010"/>
              <a:gd name="connsiteY10" fmla="*/ 354646 h 685518"/>
              <a:gd name="connsiteX11" fmla="*/ 207143 w 723010"/>
              <a:gd name="connsiteY11" fmla="*/ 497297 h 685518"/>
              <a:gd name="connsiteX12" fmla="*/ 411963 w 723010"/>
              <a:gd name="connsiteY12" fmla="*/ 238484 h 685518"/>
              <a:gd name="connsiteX13" fmla="*/ 459749 w 723010"/>
              <a:gd name="connsiteY13" fmla="*/ 191519 h 685518"/>
              <a:gd name="connsiteX14" fmla="*/ 711059 w 723010"/>
              <a:gd name="connsiteY14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44503 w 723010"/>
              <a:gd name="connsiteY3" fmla="*/ 318664 h 685518"/>
              <a:gd name="connsiteX4" fmla="*/ 441083 w 723010"/>
              <a:gd name="connsiteY4" fmla="*/ 329412 h 685518"/>
              <a:gd name="connsiteX5" fmla="*/ 351142 w 723010"/>
              <a:gd name="connsiteY5" fmla="*/ 455167 h 685518"/>
              <a:gd name="connsiteX6" fmla="*/ 270880 w 723010"/>
              <a:gd name="connsiteY6" fmla="*/ 606267 h 685518"/>
              <a:gd name="connsiteX7" fmla="*/ 159341 w 723010"/>
              <a:gd name="connsiteY7" fmla="*/ 685518 h 685518"/>
              <a:gd name="connsiteX8" fmla="*/ 0 w 723010"/>
              <a:gd name="connsiteY8" fmla="*/ 408140 h 685518"/>
              <a:gd name="connsiteX9" fmla="*/ 91621 w 723010"/>
              <a:gd name="connsiteY9" fmla="*/ 354646 h 685518"/>
              <a:gd name="connsiteX10" fmla="*/ 207143 w 723010"/>
              <a:gd name="connsiteY10" fmla="*/ 497297 h 685518"/>
              <a:gd name="connsiteX11" fmla="*/ 411963 w 723010"/>
              <a:gd name="connsiteY11" fmla="*/ 238484 h 685518"/>
              <a:gd name="connsiteX12" fmla="*/ 459749 w 723010"/>
              <a:gd name="connsiteY12" fmla="*/ 191519 h 685518"/>
              <a:gd name="connsiteX13" fmla="*/ 711059 w 723010"/>
              <a:gd name="connsiteY13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44503 w 723010"/>
              <a:gd name="connsiteY3" fmla="*/ 318664 h 685518"/>
              <a:gd name="connsiteX4" fmla="*/ 351142 w 723010"/>
              <a:gd name="connsiteY4" fmla="*/ 455167 h 685518"/>
              <a:gd name="connsiteX5" fmla="*/ 270880 w 723010"/>
              <a:gd name="connsiteY5" fmla="*/ 606267 h 685518"/>
              <a:gd name="connsiteX6" fmla="*/ 159341 w 723010"/>
              <a:gd name="connsiteY6" fmla="*/ 685518 h 685518"/>
              <a:gd name="connsiteX7" fmla="*/ 0 w 723010"/>
              <a:gd name="connsiteY7" fmla="*/ 408140 h 685518"/>
              <a:gd name="connsiteX8" fmla="*/ 91621 w 723010"/>
              <a:gd name="connsiteY8" fmla="*/ 354646 h 685518"/>
              <a:gd name="connsiteX9" fmla="*/ 207143 w 723010"/>
              <a:gd name="connsiteY9" fmla="*/ 497297 h 685518"/>
              <a:gd name="connsiteX10" fmla="*/ 411963 w 723010"/>
              <a:gd name="connsiteY10" fmla="*/ 238484 h 685518"/>
              <a:gd name="connsiteX11" fmla="*/ 459749 w 723010"/>
              <a:gd name="connsiteY11" fmla="*/ 191519 h 685518"/>
              <a:gd name="connsiteX12" fmla="*/ 711059 w 723010"/>
              <a:gd name="connsiteY12" fmla="*/ 0 h 685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23010" h="685518">
                <a:moveTo>
                  <a:pt x="711059" y="0"/>
                </a:moveTo>
                <a:lnTo>
                  <a:pt x="723010" y="21794"/>
                </a:lnTo>
                <a:cubicBezTo>
                  <a:pt x="642190" y="100164"/>
                  <a:pt x="564806" y="178154"/>
                  <a:pt x="495948" y="261172"/>
                </a:cubicBezTo>
                <a:lnTo>
                  <a:pt x="444503" y="318664"/>
                </a:lnTo>
                <a:lnTo>
                  <a:pt x="351142" y="455167"/>
                </a:lnTo>
                <a:cubicBezTo>
                  <a:pt x="321171" y="503145"/>
                  <a:pt x="294261" y="553324"/>
                  <a:pt x="270880" y="606267"/>
                </a:cubicBezTo>
                <a:lnTo>
                  <a:pt x="159341" y="685518"/>
                </a:lnTo>
                <a:cubicBezTo>
                  <a:pt x="132119" y="571264"/>
                  <a:pt x="80998" y="480786"/>
                  <a:pt x="0" y="408140"/>
                </a:cubicBezTo>
                <a:cubicBezTo>
                  <a:pt x="20581" y="382385"/>
                  <a:pt x="45147" y="364552"/>
                  <a:pt x="91621" y="354646"/>
                </a:cubicBezTo>
                <a:cubicBezTo>
                  <a:pt x="146063" y="360590"/>
                  <a:pt x="196520" y="443803"/>
                  <a:pt x="207143" y="497297"/>
                </a:cubicBezTo>
                <a:cubicBezTo>
                  <a:pt x="268211" y="397578"/>
                  <a:pt x="339176" y="311314"/>
                  <a:pt x="411963" y="238484"/>
                </a:cubicBezTo>
                <a:lnTo>
                  <a:pt x="459749" y="191519"/>
                </a:lnTo>
                <a:cubicBezTo>
                  <a:pt x="549474" y="108091"/>
                  <a:pt x="638583" y="44519"/>
                  <a:pt x="711059" y="0"/>
                </a:cubicBezTo>
                <a:close/>
              </a:path>
            </a:pathLst>
          </a:custGeom>
          <a:solidFill>
            <a:srgbClr val="0078D7"/>
          </a:solidFill>
        </p:spPr>
        <p:txBody>
          <a:bodyPr wrap="square" lIns="69942" tIns="34970" rIns="69942" bIns="34970" rtlCol="0" anchor="t">
            <a:noAutofit/>
          </a:bodyPr>
          <a:lstStyle/>
          <a:p>
            <a:pPr marL="0" lvl="2">
              <a:spcBef>
                <a:spcPts val="689"/>
              </a:spcBef>
              <a:buClr>
                <a:srgbClr val="505050"/>
              </a:buClr>
              <a:defRPr/>
            </a:pPr>
            <a:endParaRPr lang="en-US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36" name="Freeform 35"/>
          <p:cNvSpPr/>
          <p:nvPr>
            <p:custDataLst>
              <p:tags r:id="rId3"/>
            </p:custDataLst>
          </p:nvPr>
        </p:nvSpPr>
        <p:spPr>
          <a:xfrm>
            <a:off x="6419655" y="2831087"/>
            <a:ext cx="450755" cy="427319"/>
          </a:xfrm>
          <a:custGeom>
            <a:avLst/>
            <a:gdLst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95948 w 723010"/>
              <a:gd name="connsiteY3" fmla="*/ 275793 h 685518"/>
              <a:gd name="connsiteX4" fmla="*/ 444503 w 723010"/>
              <a:gd name="connsiteY4" fmla="*/ 318664 h 685518"/>
              <a:gd name="connsiteX5" fmla="*/ 441083 w 723010"/>
              <a:gd name="connsiteY5" fmla="*/ 329412 h 685518"/>
              <a:gd name="connsiteX6" fmla="*/ 351142 w 723010"/>
              <a:gd name="connsiteY6" fmla="*/ 455167 h 685518"/>
              <a:gd name="connsiteX7" fmla="*/ 270880 w 723010"/>
              <a:gd name="connsiteY7" fmla="*/ 606267 h 685518"/>
              <a:gd name="connsiteX8" fmla="*/ 159341 w 723010"/>
              <a:gd name="connsiteY8" fmla="*/ 685518 h 685518"/>
              <a:gd name="connsiteX9" fmla="*/ 0 w 723010"/>
              <a:gd name="connsiteY9" fmla="*/ 408140 h 685518"/>
              <a:gd name="connsiteX10" fmla="*/ 91621 w 723010"/>
              <a:gd name="connsiteY10" fmla="*/ 354646 h 685518"/>
              <a:gd name="connsiteX11" fmla="*/ 207143 w 723010"/>
              <a:gd name="connsiteY11" fmla="*/ 497297 h 685518"/>
              <a:gd name="connsiteX12" fmla="*/ 411963 w 723010"/>
              <a:gd name="connsiteY12" fmla="*/ 238484 h 685518"/>
              <a:gd name="connsiteX13" fmla="*/ 333474 w 723010"/>
              <a:gd name="connsiteY13" fmla="*/ 238484 h 685518"/>
              <a:gd name="connsiteX14" fmla="*/ 394052 w 723010"/>
              <a:gd name="connsiteY14" fmla="*/ 191519 h 685518"/>
              <a:gd name="connsiteX15" fmla="*/ 459749 w 723010"/>
              <a:gd name="connsiteY15" fmla="*/ 191519 h 685518"/>
              <a:gd name="connsiteX16" fmla="*/ 711059 w 723010"/>
              <a:gd name="connsiteY16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95948 w 723010"/>
              <a:gd name="connsiteY3" fmla="*/ 275793 h 685518"/>
              <a:gd name="connsiteX4" fmla="*/ 444503 w 723010"/>
              <a:gd name="connsiteY4" fmla="*/ 318664 h 685518"/>
              <a:gd name="connsiteX5" fmla="*/ 441083 w 723010"/>
              <a:gd name="connsiteY5" fmla="*/ 329412 h 685518"/>
              <a:gd name="connsiteX6" fmla="*/ 351142 w 723010"/>
              <a:gd name="connsiteY6" fmla="*/ 455167 h 685518"/>
              <a:gd name="connsiteX7" fmla="*/ 270880 w 723010"/>
              <a:gd name="connsiteY7" fmla="*/ 606267 h 685518"/>
              <a:gd name="connsiteX8" fmla="*/ 159341 w 723010"/>
              <a:gd name="connsiteY8" fmla="*/ 685518 h 685518"/>
              <a:gd name="connsiteX9" fmla="*/ 0 w 723010"/>
              <a:gd name="connsiteY9" fmla="*/ 408140 h 685518"/>
              <a:gd name="connsiteX10" fmla="*/ 91621 w 723010"/>
              <a:gd name="connsiteY10" fmla="*/ 354646 h 685518"/>
              <a:gd name="connsiteX11" fmla="*/ 207143 w 723010"/>
              <a:gd name="connsiteY11" fmla="*/ 497297 h 685518"/>
              <a:gd name="connsiteX12" fmla="*/ 411963 w 723010"/>
              <a:gd name="connsiteY12" fmla="*/ 238484 h 685518"/>
              <a:gd name="connsiteX13" fmla="*/ 394052 w 723010"/>
              <a:gd name="connsiteY13" fmla="*/ 191519 h 685518"/>
              <a:gd name="connsiteX14" fmla="*/ 459749 w 723010"/>
              <a:gd name="connsiteY14" fmla="*/ 191519 h 685518"/>
              <a:gd name="connsiteX15" fmla="*/ 711059 w 723010"/>
              <a:gd name="connsiteY15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95948 w 723010"/>
              <a:gd name="connsiteY3" fmla="*/ 275793 h 685518"/>
              <a:gd name="connsiteX4" fmla="*/ 444503 w 723010"/>
              <a:gd name="connsiteY4" fmla="*/ 318664 h 685518"/>
              <a:gd name="connsiteX5" fmla="*/ 441083 w 723010"/>
              <a:gd name="connsiteY5" fmla="*/ 329412 h 685518"/>
              <a:gd name="connsiteX6" fmla="*/ 351142 w 723010"/>
              <a:gd name="connsiteY6" fmla="*/ 455167 h 685518"/>
              <a:gd name="connsiteX7" fmla="*/ 270880 w 723010"/>
              <a:gd name="connsiteY7" fmla="*/ 606267 h 685518"/>
              <a:gd name="connsiteX8" fmla="*/ 159341 w 723010"/>
              <a:gd name="connsiteY8" fmla="*/ 685518 h 685518"/>
              <a:gd name="connsiteX9" fmla="*/ 0 w 723010"/>
              <a:gd name="connsiteY9" fmla="*/ 408140 h 685518"/>
              <a:gd name="connsiteX10" fmla="*/ 91621 w 723010"/>
              <a:gd name="connsiteY10" fmla="*/ 354646 h 685518"/>
              <a:gd name="connsiteX11" fmla="*/ 207143 w 723010"/>
              <a:gd name="connsiteY11" fmla="*/ 497297 h 685518"/>
              <a:gd name="connsiteX12" fmla="*/ 411963 w 723010"/>
              <a:gd name="connsiteY12" fmla="*/ 238484 h 685518"/>
              <a:gd name="connsiteX13" fmla="*/ 459749 w 723010"/>
              <a:gd name="connsiteY13" fmla="*/ 191519 h 685518"/>
              <a:gd name="connsiteX14" fmla="*/ 711059 w 723010"/>
              <a:gd name="connsiteY14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44503 w 723010"/>
              <a:gd name="connsiteY3" fmla="*/ 318664 h 685518"/>
              <a:gd name="connsiteX4" fmla="*/ 441083 w 723010"/>
              <a:gd name="connsiteY4" fmla="*/ 329412 h 685518"/>
              <a:gd name="connsiteX5" fmla="*/ 351142 w 723010"/>
              <a:gd name="connsiteY5" fmla="*/ 455167 h 685518"/>
              <a:gd name="connsiteX6" fmla="*/ 270880 w 723010"/>
              <a:gd name="connsiteY6" fmla="*/ 606267 h 685518"/>
              <a:gd name="connsiteX7" fmla="*/ 159341 w 723010"/>
              <a:gd name="connsiteY7" fmla="*/ 685518 h 685518"/>
              <a:gd name="connsiteX8" fmla="*/ 0 w 723010"/>
              <a:gd name="connsiteY8" fmla="*/ 408140 h 685518"/>
              <a:gd name="connsiteX9" fmla="*/ 91621 w 723010"/>
              <a:gd name="connsiteY9" fmla="*/ 354646 h 685518"/>
              <a:gd name="connsiteX10" fmla="*/ 207143 w 723010"/>
              <a:gd name="connsiteY10" fmla="*/ 497297 h 685518"/>
              <a:gd name="connsiteX11" fmla="*/ 411963 w 723010"/>
              <a:gd name="connsiteY11" fmla="*/ 238484 h 685518"/>
              <a:gd name="connsiteX12" fmla="*/ 459749 w 723010"/>
              <a:gd name="connsiteY12" fmla="*/ 191519 h 685518"/>
              <a:gd name="connsiteX13" fmla="*/ 711059 w 723010"/>
              <a:gd name="connsiteY13" fmla="*/ 0 h 685518"/>
              <a:gd name="connsiteX0" fmla="*/ 711059 w 723010"/>
              <a:gd name="connsiteY0" fmla="*/ 0 h 685518"/>
              <a:gd name="connsiteX1" fmla="*/ 723010 w 723010"/>
              <a:gd name="connsiteY1" fmla="*/ 21794 h 685518"/>
              <a:gd name="connsiteX2" fmla="*/ 495948 w 723010"/>
              <a:gd name="connsiteY2" fmla="*/ 261172 h 685518"/>
              <a:gd name="connsiteX3" fmla="*/ 444503 w 723010"/>
              <a:gd name="connsiteY3" fmla="*/ 318664 h 685518"/>
              <a:gd name="connsiteX4" fmla="*/ 351142 w 723010"/>
              <a:gd name="connsiteY4" fmla="*/ 455167 h 685518"/>
              <a:gd name="connsiteX5" fmla="*/ 270880 w 723010"/>
              <a:gd name="connsiteY5" fmla="*/ 606267 h 685518"/>
              <a:gd name="connsiteX6" fmla="*/ 159341 w 723010"/>
              <a:gd name="connsiteY6" fmla="*/ 685518 h 685518"/>
              <a:gd name="connsiteX7" fmla="*/ 0 w 723010"/>
              <a:gd name="connsiteY7" fmla="*/ 408140 h 685518"/>
              <a:gd name="connsiteX8" fmla="*/ 91621 w 723010"/>
              <a:gd name="connsiteY8" fmla="*/ 354646 h 685518"/>
              <a:gd name="connsiteX9" fmla="*/ 207143 w 723010"/>
              <a:gd name="connsiteY9" fmla="*/ 497297 h 685518"/>
              <a:gd name="connsiteX10" fmla="*/ 411963 w 723010"/>
              <a:gd name="connsiteY10" fmla="*/ 238484 h 685518"/>
              <a:gd name="connsiteX11" fmla="*/ 459749 w 723010"/>
              <a:gd name="connsiteY11" fmla="*/ 191519 h 685518"/>
              <a:gd name="connsiteX12" fmla="*/ 711059 w 723010"/>
              <a:gd name="connsiteY12" fmla="*/ 0 h 685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23010" h="685518">
                <a:moveTo>
                  <a:pt x="711059" y="0"/>
                </a:moveTo>
                <a:lnTo>
                  <a:pt x="723010" y="21794"/>
                </a:lnTo>
                <a:cubicBezTo>
                  <a:pt x="642190" y="100164"/>
                  <a:pt x="564806" y="178154"/>
                  <a:pt x="495948" y="261172"/>
                </a:cubicBezTo>
                <a:lnTo>
                  <a:pt x="444503" y="318664"/>
                </a:lnTo>
                <a:lnTo>
                  <a:pt x="351142" y="455167"/>
                </a:lnTo>
                <a:cubicBezTo>
                  <a:pt x="321171" y="503145"/>
                  <a:pt x="294261" y="553324"/>
                  <a:pt x="270880" y="606267"/>
                </a:cubicBezTo>
                <a:lnTo>
                  <a:pt x="159341" y="685518"/>
                </a:lnTo>
                <a:cubicBezTo>
                  <a:pt x="132119" y="571264"/>
                  <a:pt x="80998" y="480786"/>
                  <a:pt x="0" y="408140"/>
                </a:cubicBezTo>
                <a:cubicBezTo>
                  <a:pt x="20581" y="382385"/>
                  <a:pt x="45147" y="364552"/>
                  <a:pt x="91621" y="354646"/>
                </a:cubicBezTo>
                <a:cubicBezTo>
                  <a:pt x="146063" y="360590"/>
                  <a:pt x="196520" y="443803"/>
                  <a:pt x="207143" y="497297"/>
                </a:cubicBezTo>
                <a:cubicBezTo>
                  <a:pt x="268211" y="397578"/>
                  <a:pt x="339176" y="311314"/>
                  <a:pt x="411963" y="238484"/>
                </a:cubicBezTo>
                <a:lnTo>
                  <a:pt x="459749" y="191519"/>
                </a:lnTo>
                <a:cubicBezTo>
                  <a:pt x="549474" y="108091"/>
                  <a:pt x="638583" y="44519"/>
                  <a:pt x="711059" y="0"/>
                </a:cubicBezTo>
                <a:close/>
              </a:path>
            </a:pathLst>
          </a:custGeom>
          <a:solidFill>
            <a:srgbClr val="0078D7"/>
          </a:solidFill>
        </p:spPr>
        <p:txBody>
          <a:bodyPr wrap="square" lIns="69942" tIns="34970" rIns="69942" bIns="34970" rtlCol="0" anchor="t">
            <a:noAutofit/>
          </a:bodyPr>
          <a:lstStyle/>
          <a:p>
            <a:pPr marL="0" lvl="2">
              <a:spcBef>
                <a:spcPts val="689"/>
              </a:spcBef>
              <a:buClr>
                <a:srgbClr val="505050"/>
              </a:buClr>
              <a:defRPr/>
            </a:pPr>
            <a:endParaRPr lang="en-US" dirty="0">
              <a:solidFill>
                <a:srgbClr val="FFFFFF"/>
              </a:solidFill>
              <a:cs typeface="Calibri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399" y="4502024"/>
            <a:ext cx="668630" cy="659249"/>
          </a:xfrm>
          <a:prstGeom prst="rect">
            <a:avLst/>
          </a:prstGeom>
        </p:spPr>
      </p:pic>
      <p:sp>
        <p:nvSpPr>
          <p:cNvPr id="38" name="Freeform 37"/>
          <p:cNvSpPr/>
          <p:nvPr/>
        </p:nvSpPr>
        <p:spPr>
          <a:xfrm>
            <a:off x="302371" y="4594303"/>
            <a:ext cx="461163" cy="465304"/>
          </a:xfrm>
          <a:custGeom>
            <a:avLst/>
            <a:gdLst>
              <a:gd name="connsiteX0" fmla="*/ 260828 w 900424"/>
              <a:gd name="connsiteY0" fmla="*/ 764648 h 923624"/>
              <a:gd name="connsiteX1" fmla="*/ 260828 w 900424"/>
              <a:gd name="connsiteY1" fmla="*/ 794160 h 923624"/>
              <a:gd name="connsiteX2" fmla="*/ 752690 w 900424"/>
              <a:gd name="connsiteY2" fmla="*/ 794160 h 923624"/>
              <a:gd name="connsiteX3" fmla="*/ 752690 w 900424"/>
              <a:gd name="connsiteY3" fmla="*/ 764648 h 923624"/>
              <a:gd name="connsiteX4" fmla="*/ 523025 w 900424"/>
              <a:gd name="connsiteY4" fmla="*/ 689333 h 923624"/>
              <a:gd name="connsiteX5" fmla="*/ 529392 w 900424"/>
              <a:gd name="connsiteY5" fmla="*/ 718845 h 923624"/>
              <a:gd name="connsiteX6" fmla="*/ 752690 w 900424"/>
              <a:gd name="connsiteY6" fmla="*/ 718845 h 923624"/>
              <a:gd name="connsiteX7" fmla="*/ 752690 w 900424"/>
              <a:gd name="connsiteY7" fmla="*/ 689333 h 923624"/>
              <a:gd name="connsiteX8" fmla="*/ 260828 w 900424"/>
              <a:gd name="connsiteY8" fmla="*/ 689333 h 923624"/>
              <a:gd name="connsiteX9" fmla="*/ 260828 w 900424"/>
              <a:gd name="connsiteY9" fmla="*/ 718845 h 923624"/>
              <a:gd name="connsiteX10" fmla="*/ 520342 w 900424"/>
              <a:gd name="connsiteY10" fmla="*/ 718845 h 923624"/>
              <a:gd name="connsiteX11" fmla="*/ 427300 w 900424"/>
              <a:gd name="connsiteY11" fmla="*/ 689333 h 923624"/>
              <a:gd name="connsiteX12" fmla="*/ 506777 w 900424"/>
              <a:gd name="connsiteY12" fmla="*/ 614015 h 923624"/>
              <a:gd name="connsiteX13" fmla="*/ 513144 w 900424"/>
              <a:gd name="connsiteY13" fmla="*/ 643527 h 923624"/>
              <a:gd name="connsiteX14" fmla="*/ 752690 w 900424"/>
              <a:gd name="connsiteY14" fmla="*/ 643527 h 923624"/>
              <a:gd name="connsiteX15" fmla="*/ 752690 w 900424"/>
              <a:gd name="connsiteY15" fmla="*/ 614015 h 923624"/>
              <a:gd name="connsiteX16" fmla="*/ 260828 w 900424"/>
              <a:gd name="connsiteY16" fmla="*/ 614015 h 923624"/>
              <a:gd name="connsiteX17" fmla="*/ 260828 w 900424"/>
              <a:gd name="connsiteY17" fmla="*/ 643527 h 923624"/>
              <a:gd name="connsiteX18" fmla="*/ 334546 w 900424"/>
              <a:gd name="connsiteY18" fmla="*/ 643527 h 923624"/>
              <a:gd name="connsiteX19" fmla="*/ 307478 w 900424"/>
              <a:gd name="connsiteY19" fmla="*/ 614015 h 923624"/>
              <a:gd name="connsiteX20" fmla="*/ 467940 w 900424"/>
              <a:gd name="connsiteY20" fmla="*/ 571407 h 923624"/>
              <a:gd name="connsiteX21" fmla="*/ 385032 w 900424"/>
              <a:gd name="connsiteY21" fmla="*/ 646669 h 923624"/>
              <a:gd name="connsiteX22" fmla="*/ 506739 w 900424"/>
              <a:gd name="connsiteY22" fmla="*/ 697133 h 923624"/>
              <a:gd name="connsiteX23" fmla="*/ 260828 w 900424"/>
              <a:gd name="connsiteY23" fmla="*/ 563154 h 923624"/>
              <a:gd name="connsiteX24" fmla="*/ 260828 w 900424"/>
              <a:gd name="connsiteY24" fmla="*/ 568210 h 923624"/>
              <a:gd name="connsiteX25" fmla="*/ 265465 w 900424"/>
              <a:gd name="connsiteY25" fmla="*/ 568210 h 923624"/>
              <a:gd name="connsiteX26" fmla="*/ 477023 w 900424"/>
              <a:gd name="connsiteY26" fmla="*/ 538699 h 923624"/>
              <a:gd name="connsiteX27" fmla="*/ 477810 w 900424"/>
              <a:gd name="connsiteY27" fmla="*/ 539556 h 923624"/>
              <a:gd name="connsiteX28" fmla="*/ 481962 w 900424"/>
              <a:gd name="connsiteY28" fmla="*/ 568210 h 923624"/>
              <a:gd name="connsiteX29" fmla="*/ 752690 w 900424"/>
              <a:gd name="connsiteY29" fmla="*/ 568210 h 923624"/>
              <a:gd name="connsiteX30" fmla="*/ 752690 w 900424"/>
              <a:gd name="connsiteY30" fmla="*/ 538699 h 923624"/>
              <a:gd name="connsiteX31" fmla="*/ 407941 w 900424"/>
              <a:gd name="connsiteY31" fmla="*/ 463381 h 923624"/>
              <a:gd name="connsiteX32" fmla="*/ 435010 w 900424"/>
              <a:gd name="connsiteY32" fmla="*/ 492893 h 923624"/>
              <a:gd name="connsiteX33" fmla="*/ 752690 w 900424"/>
              <a:gd name="connsiteY33" fmla="*/ 492893 h 923624"/>
              <a:gd name="connsiteX34" fmla="*/ 752690 w 900424"/>
              <a:gd name="connsiteY34" fmla="*/ 463381 h 923624"/>
              <a:gd name="connsiteX35" fmla="*/ 338860 w 900424"/>
              <a:gd name="connsiteY35" fmla="*/ 388063 h 923624"/>
              <a:gd name="connsiteX36" fmla="*/ 365929 w 900424"/>
              <a:gd name="connsiteY36" fmla="*/ 417575 h 923624"/>
              <a:gd name="connsiteX37" fmla="*/ 752690 w 900424"/>
              <a:gd name="connsiteY37" fmla="*/ 417575 h 923624"/>
              <a:gd name="connsiteX38" fmla="*/ 752690 w 900424"/>
              <a:gd name="connsiteY38" fmla="*/ 388063 h 923624"/>
              <a:gd name="connsiteX39" fmla="*/ 208773 w 900424"/>
              <a:gd name="connsiteY39" fmla="*/ 287934 h 923624"/>
              <a:gd name="connsiteX40" fmla="*/ 191984 w 900424"/>
              <a:gd name="connsiteY40" fmla="*/ 292572 h 923624"/>
              <a:gd name="connsiteX41" fmla="*/ 127335 w 900424"/>
              <a:gd name="connsiteY41" fmla="*/ 351868 h 923624"/>
              <a:gd name="connsiteX42" fmla="*/ 129474 w 900424"/>
              <a:gd name="connsiteY42" fmla="*/ 386647 h 923624"/>
              <a:gd name="connsiteX43" fmla="*/ 350534 w 900424"/>
              <a:gd name="connsiteY43" fmla="*/ 627663 h 923624"/>
              <a:gd name="connsiteX44" fmla="*/ 384998 w 900424"/>
              <a:gd name="connsiteY44" fmla="*/ 632793 h 923624"/>
              <a:gd name="connsiteX45" fmla="*/ 449647 w 900424"/>
              <a:gd name="connsiteY45" fmla="*/ 573497 h 923624"/>
              <a:gd name="connsiteX46" fmla="*/ 447509 w 900424"/>
              <a:gd name="connsiteY46" fmla="*/ 538719 h 923624"/>
              <a:gd name="connsiteX47" fmla="*/ 226448 w 900424"/>
              <a:gd name="connsiteY47" fmla="*/ 297702 h 923624"/>
              <a:gd name="connsiteX48" fmla="*/ 208773 w 900424"/>
              <a:gd name="connsiteY48" fmla="*/ 287934 h 923624"/>
              <a:gd name="connsiteX49" fmla="*/ 260828 w 900424"/>
              <a:gd name="connsiteY49" fmla="*/ 270220 h 923624"/>
              <a:gd name="connsiteX50" fmla="*/ 260828 w 900424"/>
              <a:gd name="connsiteY50" fmla="*/ 302986 h 923624"/>
              <a:gd name="connsiteX51" fmla="*/ 266867 w 900424"/>
              <a:gd name="connsiteY51" fmla="*/ 309569 h 923624"/>
              <a:gd name="connsiteX52" fmla="*/ 555945 w 900424"/>
              <a:gd name="connsiteY52" fmla="*/ 309569 h 923624"/>
              <a:gd name="connsiteX53" fmla="*/ 555945 w 900424"/>
              <a:gd name="connsiteY53" fmla="*/ 270220 h 923624"/>
              <a:gd name="connsiteX54" fmla="*/ 593007 w 900424"/>
              <a:gd name="connsiteY54" fmla="*/ 119089 h 923624"/>
              <a:gd name="connsiteX55" fmla="*/ 593004 w 900424"/>
              <a:gd name="connsiteY55" fmla="*/ 272798 h 923624"/>
              <a:gd name="connsiteX56" fmla="*/ 636152 w 900424"/>
              <a:gd name="connsiteY56" fmla="*/ 321336 h 923624"/>
              <a:gd name="connsiteX57" fmla="*/ 797949 w 900424"/>
              <a:gd name="connsiteY57" fmla="*/ 324032 h 923624"/>
              <a:gd name="connsiteX58" fmla="*/ 655342 w 900424"/>
              <a:gd name="connsiteY58" fmla="*/ 99448 h 923624"/>
              <a:gd name="connsiteX59" fmla="*/ 721150 w 900424"/>
              <a:gd name="connsiteY59" fmla="*/ 99448 h 923624"/>
              <a:gd name="connsiteX60" fmla="*/ 900424 w 900424"/>
              <a:gd name="connsiteY60" fmla="*/ 281060 h 923624"/>
              <a:gd name="connsiteX61" fmla="*/ 900424 w 900424"/>
              <a:gd name="connsiteY61" fmla="*/ 853516 h 923624"/>
              <a:gd name="connsiteX62" fmla="*/ 852052 w 900424"/>
              <a:gd name="connsiteY62" fmla="*/ 905556 h 923624"/>
              <a:gd name="connsiteX63" fmla="*/ 828360 w 900424"/>
              <a:gd name="connsiteY63" fmla="*/ 905556 h 923624"/>
              <a:gd name="connsiteX64" fmla="*/ 849187 w 900424"/>
              <a:gd name="connsiteY64" fmla="*/ 863467 h 923624"/>
              <a:gd name="connsiteX65" fmla="*/ 849187 w 900424"/>
              <a:gd name="connsiteY65" fmla="*/ 293293 h 923624"/>
              <a:gd name="connsiteX66" fmla="*/ 284672 w 900424"/>
              <a:gd name="connsiteY66" fmla="*/ 26544 h 923624"/>
              <a:gd name="connsiteX67" fmla="*/ 306902 w 900424"/>
              <a:gd name="connsiteY67" fmla="*/ 26544 h 923624"/>
              <a:gd name="connsiteX68" fmla="*/ 312459 w 900424"/>
              <a:gd name="connsiteY68" fmla="*/ 32101 h 923624"/>
              <a:gd name="connsiteX69" fmla="*/ 312459 w 900424"/>
              <a:gd name="connsiteY69" fmla="*/ 71134 h 923624"/>
              <a:gd name="connsiteX70" fmla="*/ 341829 w 900424"/>
              <a:gd name="connsiteY70" fmla="*/ 71134 h 923624"/>
              <a:gd name="connsiteX71" fmla="*/ 341829 w 900424"/>
              <a:gd name="connsiteY71" fmla="*/ 32101 h 923624"/>
              <a:gd name="connsiteX72" fmla="*/ 347386 w 900424"/>
              <a:gd name="connsiteY72" fmla="*/ 26544 h 923624"/>
              <a:gd name="connsiteX73" fmla="*/ 369616 w 900424"/>
              <a:gd name="connsiteY73" fmla="*/ 26544 h 923624"/>
              <a:gd name="connsiteX74" fmla="*/ 375173 w 900424"/>
              <a:gd name="connsiteY74" fmla="*/ 32101 h 923624"/>
              <a:gd name="connsiteX75" fmla="*/ 375173 w 900424"/>
              <a:gd name="connsiteY75" fmla="*/ 71134 h 923624"/>
              <a:gd name="connsiteX76" fmla="*/ 404543 w 900424"/>
              <a:gd name="connsiteY76" fmla="*/ 71134 h 923624"/>
              <a:gd name="connsiteX77" fmla="*/ 404543 w 900424"/>
              <a:gd name="connsiteY77" fmla="*/ 32101 h 923624"/>
              <a:gd name="connsiteX78" fmla="*/ 410100 w 900424"/>
              <a:gd name="connsiteY78" fmla="*/ 26544 h 923624"/>
              <a:gd name="connsiteX79" fmla="*/ 432330 w 900424"/>
              <a:gd name="connsiteY79" fmla="*/ 26544 h 923624"/>
              <a:gd name="connsiteX80" fmla="*/ 437887 w 900424"/>
              <a:gd name="connsiteY80" fmla="*/ 32101 h 923624"/>
              <a:gd name="connsiteX81" fmla="*/ 437887 w 900424"/>
              <a:gd name="connsiteY81" fmla="*/ 71134 h 923624"/>
              <a:gd name="connsiteX82" fmla="*/ 467255 w 900424"/>
              <a:gd name="connsiteY82" fmla="*/ 71134 h 923624"/>
              <a:gd name="connsiteX83" fmla="*/ 467255 w 900424"/>
              <a:gd name="connsiteY83" fmla="*/ 32101 h 923624"/>
              <a:gd name="connsiteX84" fmla="*/ 472813 w 900424"/>
              <a:gd name="connsiteY84" fmla="*/ 26544 h 923624"/>
              <a:gd name="connsiteX85" fmla="*/ 495042 w 900424"/>
              <a:gd name="connsiteY85" fmla="*/ 26544 h 923624"/>
              <a:gd name="connsiteX86" fmla="*/ 500600 w 900424"/>
              <a:gd name="connsiteY86" fmla="*/ 32101 h 923624"/>
              <a:gd name="connsiteX87" fmla="*/ 500600 w 900424"/>
              <a:gd name="connsiteY87" fmla="*/ 71134 h 923624"/>
              <a:gd name="connsiteX88" fmla="*/ 606532 w 900424"/>
              <a:gd name="connsiteY88" fmla="*/ 71134 h 923624"/>
              <a:gd name="connsiteX89" fmla="*/ 833814 w 900424"/>
              <a:gd name="connsiteY89" fmla="*/ 298416 h 923624"/>
              <a:gd name="connsiteX90" fmla="*/ 833814 w 900424"/>
              <a:gd name="connsiteY90" fmla="*/ 868590 h 923624"/>
              <a:gd name="connsiteX91" fmla="*/ 778780 w 900424"/>
              <a:gd name="connsiteY91" fmla="*/ 923624 h 923624"/>
              <a:gd name="connsiteX92" fmla="*/ 239864 w 900424"/>
              <a:gd name="connsiteY92" fmla="*/ 923624 h 923624"/>
              <a:gd name="connsiteX93" fmla="*/ 184830 w 900424"/>
              <a:gd name="connsiteY93" fmla="*/ 868590 h 923624"/>
              <a:gd name="connsiteX94" fmla="*/ 184830 w 900424"/>
              <a:gd name="connsiteY94" fmla="*/ 480294 h 923624"/>
              <a:gd name="connsiteX95" fmla="*/ 108913 w 900424"/>
              <a:gd name="connsiteY95" fmla="*/ 397523 h 923624"/>
              <a:gd name="connsiteX96" fmla="*/ 110701 w 900424"/>
              <a:gd name="connsiteY96" fmla="*/ 356111 h 923624"/>
              <a:gd name="connsiteX97" fmla="*/ 184830 w 900424"/>
              <a:gd name="connsiteY97" fmla="*/ 288121 h 923624"/>
              <a:gd name="connsiteX98" fmla="*/ 184830 w 900424"/>
              <a:gd name="connsiteY98" fmla="*/ 255779 h 923624"/>
              <a:gd name="connsiteX99" fmla="*/ 182259 w 900424"/>
              <a:gd name="connsiteY99" fmla="*/ 258139 h 923624"/>
              <a:gd name="connsiteX100" fmla="*/ 181841 w 900424"/>
              <a:gd name="connsiteY100" fmla="*/ 251347 h 923624"/>
              <a:gd name="connsiteX101" fmla="*/ 140694 w 900424"/>
              <a:gd name="connsiteY101" fmla="*/ 206486 h 923624"/>
              <a:gd name="connsiteX102" fmla="*/ 121321 w 900424"/>
              <a:gd name="connsiteY102" fmla="*/ 203601 h 923624"/>
              <a:gd name="connsiteX103" fmla="*/ 42515 w 900424"/>
              <a:gd name="connsiteY103" fmla="*/ 275879 h 923624"/>
              <a:gd name="connsiteX104" fmla="*/ 43718 w 900424"/>
              <a:gd name="connsiteY104" fmla="*/ 295429 h 923624"/>
              <a:gd name="connsiteX105" fmla="*/ 84866 w 900424"/>
              <a:gd name="connsiteY105" fmla="*/ 340291 h 923624"/>
              <a:gd name="connsiteX106" fmla="*/ 91596 w 900424"/>
              <a:gd name="connsiteY106" fmla="*/ 341293 h 923624"/>
              <a:gd name="connsiteX107" fmla="*/ 83614 w 900424"/>
              <a:gd name="connsiteY107" fmla="*/ 348614 h 923624"/>
              <a:gd name="connsiteX108" fmla="*/ 60335 w 900424"/>
              <a:gd name="connsiteY108" fmla="*/ 347609 h 923624"/>
              <a:gd name="connsiteX109" fmla="*/ 15793 w 900424"/>
              <a:gd name="connsiteY109" fmla="*/ 299045 h 923624"/>
              <a:gd name="connsiteX110" fmla="*/ 16799 w 900424"/>
              <a:gd name="connsiteY110" fmla="*/ 275766 h 923624"/>
              <a:gd name="connsiteX111" fmla="*/ 122114 w 900424"/>
              <a:gd name="connsiteY111" fmla="*/ 179172 h 923624"/>
              <a:gd name="connsiteX112" fmla="*/ 145393 w 900424"/>
              <a:gd name="connsiteY112" fmla="*/ 180177 h 923624"/>
              <a:gd name="connsiteX113" fmla="*/ 184830 w 900424"/>
              <a:gd name="connsiteY113" fmla="*/ 223174 h 923624"/>
              <a:gd name="connsiteX114" fmla="*/ 184830 w 900424"/>
              <a:gd name="connsiteY114" fmla="*/ 126169 h 923624"/>
              <a:gd name="connsiteX115" fmla="*/ 239864 w 900424"/>
              <a:gd name="connsiteY115" fmla="*/ 71134 h 923624"/>
              <a:gd name="connsiteX116" fmla="*/ 279115 w 900424"/>
              <a:gd name="connsiteY116" fmla="*/ 71134 h 923624"/>
              <a:gd name="connsiteX117" fmla="*/ 279115 w 900424"/>
              <a:gd name="connsiteY117" fmla="*/ 32101 h 923624"/>
              <a:gd name="connsiteX118" fmla="*/ 284672 w 900424"/>
              <a:gd name="connsiteY118" fmla="*/ 26544 h 923624"/>
              <a:gd name="connsiteX119" fmla="*/ 185348 w 900424"/>
              <a:gd name="connsiteY119" fmla="*/ 0 h 923624"/>
              <a:gd name="connsiteX120" fmla="*/ 185239 w 900424"/>
              <a:gd name="connsiteY120" fmla="*/ 90 h 923624"/>
              <a:gd name="connsiteX121" fmla="*/ 177024 w 900424"/>
              <a:gd name="connsiteY121" fmla="*/ 4549 h 923624"/>
              <a:gd name="connsiteX122" fmla="*/ 69385 w 900424"/>
              <a:gd name="connsiteY122" fmla="*/ 97763 h 923624"/>
              <a:gd name="connsiteX123" fmla="*/ 0 w 900424"/>
              <a:gd name="connsiteY123" fmla="*/ 195399 h 923624"/>
              <a:gd name="connsiteX124" fmla="*/ 0 w 900424"/>
              <a:gd name="connsiteY124" fmla="*/ 195353 h 923624"/>
              <a:gd name="connsiteX125" fmla="*/ 69366 w 900424"/>
              <a:gd name="connsiteY125" fmla="*/ 97745 h 923624"/>
              <a:gd name="connsiteX126" fmla="*/ 177009 w 900424"/>
              <a:gd name="connsiteY126" fmla="*/ 4526 h 923624"/>
              <a:gd name="connsiteX0" fmla="*/ 260828 w 900424"/>
              <a:gd name="connsiteY0" fmla="*/ 764558 h 923534"/>
              <a:gd name="connsiteX1" fmla="*/ 260828 w 900424"/>
              <a:gd name="connsiteY1" fmla="*/ 794070 h 923534"/>
              <a:gd name="connsiteX2" fmla="*/ 752690 w 900424"/>
              <a:gd name="connsiteY2" fmla="*/ 794070 h 923534"/>
              <a:gd name="connsiteX3" fmla="*/ 752690 w 900424"/>
              <a:gd name="connsiteY3" fmla="*/ 764558 h 923534"/>
              <a:gd name="connsiteX4" fmla="*/ 260828 w 900424"/>
              <a:gd name="connsiteY4" fmla="*/ 764558 h 923534"/>
              <a:gd name="connsiteX5" fmla="*/ 523025 w 900424"/>
              <a:gd name="connsiteY5" fmla="*/ 689243 h 923534"/>
              <a:gd name="connsiteX6" fmla="*/ 529392 w 900424"/>
              <a:gd name="connsiteY6" fmla="*/ 718755 h 923534"/>
              <a:gd name="connsiteX7" fmla="*/ 752690 w 900424"/>
              <a:gd name="connsiteY7" fmla="*/ 718755 h 923534"/>
              <a:gd name="connsiteX8" fmla="*/ 752690 w 900424"/>
              <a:gd name="connsiteY8" fmla="*/ 689243 h 923534"/>
              <a:gd name="connsiteX9" fmla="*/ 523025 w 900424"/>
              <a:gd name="connsiteY9" fmla="*/ 689243 h 923534"/>
              <a:gd name="connsiteX10" fmla="*/ 260828 w 900424"/>
              <a:gd name="connsiteY10" fmla="*/ 689243 h 923534"/>
              <a:gd name="connsiteX11" fmla="*/ 260828 w 900424"/>
              <a:gd name="connsiteY11" fmla="*/ 718755 h 923534"/>
              <a:gd name="connsiteX12" fmla="*/ 520342 w 900424"/>
              <a:gd name="connsiteY12" fmla="*/ 718755 h 923534"/>
              <a:gd name="connsiteX13" fmla="*/ 427300 w 900424"/>
              <a:gd name="connsiteY13" fmla="*/ 689243 h 923534"/>
              <a:gd name="connsiteX14" fmla="*/ 260828 w 900424"/>
              <a:gd name="connsiteY14" fmla="*/ 689243 h 923534"/>
              <a:gd name="connsiteX15" fmla="*/ 506777 w 900424"/>
              <a:gd name="connsiteY15" fmla="*/ 613925 h 923534"/>
              <a:gd name="connsiteX16" fmla="*/ 513144 w 900424"/>
              <a:gd name="connsiteY16" fmla="*/ 643437 h 923534"/>
              <a:gd name="connsiteX17" fmla="*/ 752690 w 900424"/>
              <a:gd name="connsiteY17" fmla="*/ 643437 h 923534"/>
              <a:gd name="connsiteX18" fmla="*/ 752690 w 900424"/>
              <a:gd name="connsiteY18" fmla="*/ 613925 h 923534"/>
              <a:gd name="connsiteX19" fmla="*/ 506777 w 900424"/>
              <a:gd name="connsiteY19" fmla="*/ 613925 h 923534"/>
              <a:gd name="connsiteX20" fmla="*/ 260828 w 900424"/>
              <a:gd name="connsiteY20" fmla="*/ 613925 h 923534"/>
              <a:gd name="connsiteX21" fmla="*/ 260828 w 900424"/>
              <a:gd name="connsiteY21" fmla="*/ 643437 h 923534"/>
              <a:gd name="connsiteX22" fmla="*/ 334546 w 900424"/>
              <a:gd name="connsiteY22" fmla="*/ 643437 h 923534"/>
              <a:gd name="connsiteX23" fmla="*/ 307478 w 900424"/>
              <a:gd name="connsiteY23" fmla="*/ 613925 h 923534"/>
              <a:gd name="connsiteX24" fmla="*/ 260828 w 900424"/>
              <a:gd name="connsiteY24" fmla="*/ 613925 h 923534"/>
              <a:gd name="connsiteX25" fmla="*/ 467940 w 900424"/>
              <a:gd name="connsiteY25" fmla="*/ 571317 h 923534"/>
              <a:gd name="connsiteX26" fmla="*/ 385032 w 900424"/>
              <a:gd name="connsiteY26" fmla="*/ 646579 h 923534"/>
              <a:gd name="connsiteX27" fmla="*/ 506739 w 900424"/>
              <a:gd name="connsiteY27" fmla="*/ 697043 h 923534"/>
              <a:gd name="connsiteX28" fmla="*/ 467940 w 900424"/>
              <a:gd name="connsiteY28" fmla="*/ 571317 h 923534"/>
              <a:gd name="connsiteX29" fmla="*/ 260828 w 900424"/>
              <a:gd name="connsiteY29" fmla="*/ 563064 h 923534"/>
              <a:gd name="connsiteX30" fmla="*/ 260828 w 900424"/>
              <a:gd name="connsiteY30" fmla="*/ 568120 h 923534"/>
              <a:gd name="connsiteX31" fmla="*/ 265465 w 900424"/>
              <a:gd name="connsiteY31" fmla="*/ 568120 h 923534"/>
              <a:gd name="connsiteX32" fmla="*/ 260828 w 900424"/>
              <a:gd name="connsiteY32" fmla="*/ 563064 h 923534"/>
              <a:gd name="connsiteX33" fmla="*/ 477023 w 900424"/>
              <a:gd name="connsiteY33" fmla="*/ 538609 h 923534"/>
              <a:gd name="connsiteX34" fmla="*/ 477810 w 900424"/>
              <a:gd name="connsiteY34" fmla="*/ 539466 h 923534"/>
              <a:gd name="connsiteX35" fmla="*/ 481962 w 900424"/>
              <a:gd name="connsiteY35" fmla="*/ 568120 h 923534"/>
              <a:gd name="connsiteX36" fmla="*/ 752690 w 900424"/>
              <a:gd name="connsiteY36" fmla="*/ 568120 h 923534"/>
              <a:gd name="connsiteX37" fmla="*/ 752690 w 900424"/>
              <a:gd name="connsiteY37" fmla="*/ 538609 h 923534"/>
              <a:gd name="connsiteX38" fmla="*/ 477023 w 900424"/>
              <a:gd name="connsiteY38" fmla="*/ 538609 h 923534"/>
              <a:gd name="connsiteX39" fmla="*/ 407941 w 900424"/>
              <a:gd name="connsiteY39" fmla="*/ 463291 h 923534"/>
              <a:gd name="connsiteX40" fmla="*/ 435010 w 900424"/>
              <a:gd name="connsiteY40" fmla="*/ 492803 h 923534"/>
              <a:gd name="connsiteX41" fmla="*/ 752690 w 900424"/>
              <a:gd name="connsiteY41" fmla="*/ 492803 h 923534"/>
              <a:gd name="connsiteX42" fmla="*/ 752690 w 900424"/>
              <a:gd name="connsiteY42" fmla="*/ 463291 h 923534"/>
              <a:gd name="connsiteX43" fmla="*/ 407941 w 900424"/>
              <a:gd name="connsiteY43" fmla="*/ 463291 h 923534"/>
              <a:gd name="connsiteX44" fmla="*/ 338860 w 900424"/>
              <a:gd name="connsiteY44" fmla="*/ 387973 h 923534"/>
              <a:gd name="connsiteX45" fmla="*/ 365929 w 900424"/>
              <a:gd name="connsiteY45" fmla="*/ 417485 h 923534"/>
              <a:gd name="connsiteX46" fmla="*/ 752690 w 900424"/>
              <a:gd name="connsiteY46" fmla="*/ 417485 h 923534"/>
              <a:gd name="connsiteX47" fmla="*/ 752690 w 900424"/>
              <a:gd name="connsiteY47" fmla="*/ 387973 h 923534"/>
              <a:gd name="connsiteX48" fmla="*/ 338860 w 900424"/>
              <a:gd name="connsiteY48" fmla="*/ 387973 h 923534"/>
              <a:gd name="connsiteX49" fmla="*/ 208773 w 900424"/>
              <a:gd name="connsiteY49" fmla="*/ 287844 h 923534"/>
              <a:gd name="connsiteX50" fmla="*/ 191984 w 900424"/>
              <a:gd name="connsiteY50" fmla="*/ 292482 h 923534"/>
              <a:gd name="connsiteX51" fmla="*/ 127335 w 900424"/>
              <a:gd name="connsiteY51" fmla="*/ 351778 h 923534"/>
              <a:gd name="connsiteX52" fmla="*/ 129474 w 900424"/>
              <a:gd name="connsiteY52" fmla="*/ 386557 h 923534"/>
              <a:gd name="connsiteX53" fmla="*/ 350534 w 900424"/>
              <a:gd name="connsiteY53" fmla="*/ 627573 h 923534"/>
              <a:gd name="connsiteX54" fmla="*/ 384998 w 900424"/>
              <a:gd name="connsiteY54" fmla="*/ 632703 h 923534"/>
              <a:gd name="connsiteX55" fmla="*/ 449647 w 900424"/>
              <a:gd name="connsiteY55" fmla="*/ 573407 h 923534"/>
              <a:gd name="connsiteX56" fmla="*/ 447509 w 900424"/>
              <a:gd name="connsiteY56" fmla="*/ 538629 h 923534"/>
              <a:gd name="connsiteX57" fmla="*/ 226448 w 900424"/>
              <a:gd name="connsiteY57" fmla="*/ 297612 h 923534"/>
              <a:gd name="connsiteX58" fmla="*/ 208773 w 900424"/>
              <a:gd name="connsiteY58" fmla="*/ 287844 h 923534"/>
              <a:gd name="connsiteX59" fmla="*/ 260828 w 900424"/>
              <a:gd name="connsiteY59" fmla="*/ 270130 h 923534"/>
              <a:gd name="connsiteX60" fmla="*/ 260828 w 900424"/>
              <a:gd name="connsiteY60" fmla="*/ 302896 h 923534"/>
              <a:gd name="connsiteX61" fmla="*/ 266867 w 900424"/>
              <a:gd name="connsiteY61" fmla="*/ 309479 h 923534"/>
              <a:gd name="connsiteX62" fmla="*/ 555945 w 900424"/>
              <a:gd name="connsiteY62" fmla="*/ 309479 h 923534"/>
              <a:gd name="connsiteX63" fmla="*/ 555945 w 900424"/>
              <a:gd name="connsiteY63" fmla="*/ 270130 h 923534"/>
              <a:gd name="connsiteX64" fmla="*/ 260828 w 900424"/>
              <a:gd name="connsiteY64" fmla="*/ 270130 h 923534"/>
              <a:gd name="connsiteX65" fmla="*/ 593007 w 900424"/>
              <a:gd name="connsiteY65" fmla="*/ 118999 h 923534"/>
              <a:gd name="connsiteX66" fmla="*/ 593004 w 900424"/>
              <a:gd name="connsiteY66" fmla="*/ 272708 h 923534"/>
              <a:gd name="connsiteX67" fmla="*/ 636152 w 900424"/>
              <a:gd name="connsiteY67" fmla="*/ 321246 h 923534"/>
              <a:gd name="connsiteX68" fmla="*/ 797949 w 900424"/>
              <a:gd name="connsiteY68" fmla="*/ 323942 h 923534"/>
              <a:gd name="connsiteX69" fmla="*/ 593007 w 900424"/>
              <a:gd name="connsiteY69" fmla="*/ 118999 h 923534"/>
              <a:gd name="connsiteX70" fmla="*/ 655342 w 900424"/>
              <a:gd name="connsiteY70" fmla="*/ 99358 h 923534"/>
              <a:gd name="connsiteX71" fmla="*/ 721150 w 900424"/>
              <a:gd name="connsiteY71" fmla="*/ 99358 h 923534"/>
              <a:gd name="connsiteX72" fmla="*/ 900424 w 900424"/>
              <a:gd name="connsiteY72" fmla="*/ 280970 h 923534"/>
              <a:gd name="connsiteX73" fmla="*/ 900424 w 900424"/>
              <a:gd name="connsiteY73" fmla="*/ 853426 h 923534"/>
              <a:gd name="connsiteX74" fmla="*/ 852052 w 900424"/>
              <a:gd name="connsiteY74" fmla="*/ 905466 h 923534"/>
              <a:gd name="connsiteX75" fmla="*/ 828360 w 900424"/>
              <a:gd name="connsiteY75" fmla="*/ 905466 h 923534"/>
              <a:gd name="connsiteX76" fmla="*/ 849187 w 900424"/>
              <a:gd name="connsiteY76" fmla="*/ 863377 h 923534"/>
              <a:gd name="connsiteX77" fmla="*/ 849187 w 900424"/>
              <a:gd name="connsiteY77" fmla="*/ 293203 h 923534"/>
              <a:gd name="connsiteX78" fmla="*/ 655342 w 900424"/>
              <a:gd name="connsiteY78" fmla="*/ 99358 h 923534"/>
              <a:gd name="connsiteX79" fmla="*/ 284672 w 900424"/>
              <a:gd name="connsiteY79" fmla="*/ 26454 h 923534"/>
              <a:gd name="connsiteX80" fmla="*/ 306902 w 900424"/>
              <a:gd name="connsiteY80" fmla="*/ 26454 h 923534"/>
              <a:gd name="connsiteX81" fmla="*/ 312459 w 900424"/>
              <a:gd name="connsiteY81" fmla="*/ 32011 h 923534"/>
              <a:gd name="connsiteX82" fmla="*/ 312459 w 900424"/>
              <a:gd name="connsiteY82" fmla="*/ 71044 h 923534"/>
              <a:gd name="connsiteX83" fmla="*/ 341829 w 900424"/>
              <a:gd name="connsiteY83" fmla="*/ 71044 h 923534"/>
              <a:gd name="connsiteX84" fmla="*/ 341829 w 900424"/>
              <a:gd name="connsiteY84" fmla="*/ 32011 h 923534"/>
              <a:gd name="connsiteX85" fmla="*/ 347386 w 900424"/>
              <a:gd name="connsiteY85" fmla="*/ 26454 h 923534"/>
              <a:gd name="connsiteX86" fmla="*/ 369616 w 900424"/>
              <a:gd name="connsiteY86" fmla="*/ 26454 h 923534"/>
              <a:gd name="connsiteX87" fmla="*/ 375173 w 900424"/>
              <a:gd name="connsiteY87" fmla="*/ 32011 h 923534"/>
              <a:gd name="connsiteX88" fmla="*/ 375173 w 900424"/>
              <a:gd name="connsiteY88" fmla="*/ 71044 h 923534"/>
              <a:gd name="connsiteX89" fmla="*/ 404543 w 900424"/>
              <a:gd name="connsiteY89" fmla="*/ 71044 h 923534"/>
              <a:gd name="connsiteX90" fmla="*/ 404543 w 900424"/>
              <a:gd name="connsiteY90" fmla="*/ 32011 h 923534"/>
              <a:gd name="connsiteX91" fmla="*/ 410100 w 900424"/>
              <a:gd name="connsiteY91" fmla="*/ 26454 h 923534"/>
              <a:gd name="connsiteX92" fmla="*/ 432330 w 900424"/>
              <a:gd name="connsiteY92" fmla="*/ 26454 h 923534"/>
              <a:gd name="connsiteX93" fmla="*/ 437887 w 900424"/>
              <a:gd name="connsiteY93" fmla="*/ 32011 h 923534"/>
              <a:gd name="connsiteX94" fmla="*/ 437887 w 900424"/>
              <a:gd name="connsiteY94" fmla="*/ 71044 h 923534"/>
              <a:gd name="connsiteX95" fmla="*/ 467255 w 900424"/>
              <a:gd name="connsiteY95" fmla="*/ 71044 h 923534"/>
              <a:gd name="connsiteX96" fmla="*/ 467255 w 900424"/>
              <a:gd name="connsiteY96" fmla="*/ 32011 h 923534"/>
              <a:gd name="connsiteX97" fmla="*/ 472813 w 900424"/>
              <a:gd name="connsiteY97" fmla="*/ 26454 h 923534"/>
              <a:gd name="connsiteX98" fmla="*/ 495042 w 900424"/>
              <a:gd name="connsiteY98" fmla="*/ 26454 h 923534"/>
              <a:gd name="connsiteX99" fmla="*/ 500600 w 900424"/>
              <a:gd name="connsiteY99" fmla="*/ 32011 h 923534"/>
              <a:gd name="connsiteX100" fmla="*/ 500600 w 900424"/>
              <a:gd name="connsiteY100" fmla="*/ 71044 h 923534"/>
              <a:gd name="connsiteX101" fmla="*/ 606532 w 900424"/>
              <a:gd name="connsiteY101" fmla="*/ 71044 h 923534"/>
              <a:gd name="connsiteX102" fmla="*/ 833814 w 900424"/>
              <a:gd name="connsiteY102" fmla="*/ 298326 h 923534"/>
              <a:gd name="connsiteX103" fmla="*/ 833814 w 900424"/>
              <a:gd name="connsiteY103" fmla="*/ 868500 h 923534"/>
              <a:gd name="connsiteX104" fmla="*/ 778780 w 900424"/>
              <a:gd name="connsiteY104" fmla="*/ 923534 h 923534"/>
              <a:gd name="connsiteX105" fmla="*/ 239864 w 900424"/>
              <a:gd name="connsiteY105" fmla="*/ 923534 h 923534"/>
              <a:gd name="connsiteX106" fmla="*/ 184830 w 900424"/>
              <a:gd name="connsiteY106" fmla="*/ 868500 h 923534"/>
              <a:gd name="connsiteX107" fmla="*/ 184830 w 900424"/>
              <a:gd name="connsiteY107" fmla="*/ 480204 h 923534"/>
              <a:gd name="connsiteX108" fmla="*/ 108913 w 900424"/>
              <a:gd name="connsiteY108" fmla="*/ 397433 h 923534"/>
              <a:gd name="connsiteX109" fmla="*/ 110701 w 900424"/>
              <a:gd name="connsiteY109" fmla="*/ 356021 h 923534"/>
              <a:gd name="connsiteX110" fmla="*/ 184830 w 900424"/>
              <a:gd name="connsiteY110" fmla="*/ 288031 h 923534"/>
              <a:gd name="connsiteX111" fmla="*/ 184830 w 900424"/>
              <a:gd name="connsiteY111" fmla="*/ 255689 h 923534"/>
              <a:gd name="connsiteX112" fmla="*/ 182259 w 900424"/>
              <a:gd name="connsiteY112" fmla="*/ 258049 h 923534"/>
              <a:gd name="connsiteX113" fmla="*/ 181841 w 900424"/>
              <a:gd name="connsiteY113" fmla="*/ 251257 h 923534"/>
              <a:gd name="connsiteX114" fmla="*/ 140694 w 900424"/>
              <a:gd name="connsiteY114" fmla="*/ 206396 h 923534"/>
              <a:gd name="connsiteX115" fmla="*/ 121321 w 900424"/>
              <a:gd name="connsiteY115" fmla="*/ 203511 h 923534"/>
              <a:gd name="connsiteX116" fmla="*/ 42515 w 900424"/>
              <a:gd name="connsiteY116" fmla="*/ 275789 h 923534"/>
              <a:gd name="connsiteX117" fmla="*/ 43718 w 900424"/>
              <a:gd name="connsiteY117" fmla="*/ 295339 h 923534"/>
              <a:gd name="connsiteX118" fmla="*/ 84866 w 900424"/>
              <a:gd name="connsiteY118" fmla="*/ 340201 h 923534"/>
              <a:gd name="connsiteX119" fmla="*/ 91596 w 900424"/>
              <a:gd name="connsiteY119" fmla="*/ 341203 h 923534"/>
              <a:gd name="connsiteX120" fmla="*/ 83614 w 900424"/>
              <a:gd name="connsiteY120" fmla="*/ 348524 h 923534"/>
              <a:gd name="connsiteX121" fmla="*/ 60335 w 900424"/>
              <a:gd name="connsiteY121" fmla="*/ 347519 h 923534"/>
              <a:gd name="connsiteX122" fmla="*/ 15793 w 900424"/>
              <a:gd name="connsiteY122" fmla="*/ 298955 h 923534"/>
              <a:gd name="connsiteX123" fmla="*/ 16799 w 900424"/>
              <a:gd name="connsiteY123" fmla="*/ 275676 h 923534"/>
              <a:gd name="connsiteX124" fmla="*/ 122114 w 900424"/>
              <a:gd name="connsiteY124" fmla="*/ 179082 h 923534"/>
              <a:gd name="connsiteX125" fmla="*/ 145393 w 900424"/>
              <a:gd name="connsiteY125" fmla="*/ 180087 h 923534"/>
              <a:gd name="connsiteX126" fmla="*/ 184830 w 900424"/>
              <a:gd name="connsiteY126" fmla="*/ 223084 h 923534"/>
              <a:gd name="connsiteX127" fmla="*/ 184830 w 900424"/>
              <a:gd name="connsiteY127" fmla="*/ 126079 h 923534"/>
              <a:gd name="connsiteX128" fmla="*/ 239864 w 900424"/>
              <a:gd name="connsiteY128" fmla="*/ 71044 h 923534"/>
              <a:gd name="connsiteX129" fmla="*/ 279115 w 900424"/>
              <a:gd name="connsiteY129" fmla="*/ 71044 h 923534"/>
              <a:gd name="connsiteX130" fmla="*/ 279115 w 900424"/>
              <a:gd name="connsiteY130" fmla="*/ 32011 h 923534"/>
              <a:gd name="connsiteX131" fmla="*/ 284672 w 900424"/>
              <a:gd name="connsiteY131" fmla="*/ 26454 h 923534"/>
              <a:gd name="connsiteX132" fmla="*/ 177009 w 900424"/>
              <a:gd name="connsiteY132" fmla="*/ 4436 h 923534"/>
              <a:gd name="connsiteX133" fmla="*/ 185239 w 900424"/>
              <a:gd name="connsiteY133" fmla="*/ 0 h 923534"/>
              <a:gd name="connsiteX134" fmla="*/ 177024 w 900424"/>
              <a:gd name="connsiteY134" fmla="*/ 4459 h 923534"/>
              <a:gd name="connsiteX135" fmla="*/ 69385 w 900424"/>
              <a:gd name="connsiteY135" fmla="*/ 97673 h 923534"/>
              <a:gd name="connsiteX136" fmla="*/ 0 w 900424"/>
              <a:gd name="connsiteY136" fmla="*/ 195309 h 923534"/>
              <a:gd name="connsiteX137" fmla="*/ 0 w 900424"/>
              <a:gd name="connsiteY137" fmla="*/ 195263 h 923534"/>
              <a:gd name="connsiteX138" fmla="*/ 69366 w 900424"/>
              <a:gd name="connsiteY138" fmla="*/ 97655 h 923534"/>
              <a:gd name="connsiteX139" fmla="*/ 177009 w 900424"/>
              <a:gd name="connsiteY139" fmla="*/ 4436 h 923534"/>
              <a:gd name="connsiteX0" fmla="*/ 260828 w 900424"/>
              <a:gd name="connsiteY0" fmla="*/ 764558 h 923534"/>
              <a:gd name="connsiteX1" fmla="*/ 260828 w 900424"/>
              <a:gd name="connsiteY1" fmla="*/ 794070 h 923534"/>
              <a:gd name="connsiteX2" fmla="*/ 752690 w 900424"/>
              <a:gd name="connsiteY2" fmla="*/ 794070 h 923534"/>
              <a:gd name="connsiteX3" fmla="*/ 752690 w 900424"/>
              <a:gd name="connsiteY3" fmla="*/ 764558 h 923534"/>
              <a:gd name="connsiteX4" fmla="*/ 260828 w 900424"/>
              <a:gd name="connsiteY4" fmla="*/ 764558 h 923534"/>
              <a:gd name="connsiteX5" fmla="*/ 523025 w 900424"/>
              <a:gd name="connsiteY5" fmla="*/ 689243 h 923534"/>
              <a:gd name="connsiteX6" fmla="*/ 529392 w 900424"/>
              <a:gd name="connsiteY6" fmla="*/ 718755 h 923534"/>
              <a:gd name="connsiteX7" fmla="*/ 752690 w 900424"/>
              <a:gd name="connsiteY7" fmla="*/ 718755 h 923534"/>
              <a:gd name="connsiteX8" fmla="*/ 752690 w 900424"/>
              <a:gd name="connsiteY8" fmla="*/ 689243 h 923534"/>
              <a:gd name="connsiteX9" fmla="*/ 523025 w 900424"/>
              <a:gd name="connsiteY9" fmla="*/ 689243 h 923534"/>
              <a:gd name="connsiteX10" fmla="*/ 260828 w 900424"/>
              <a:gd name="connsiteY10" fmla="*/ 689243 h 923534"/>
              <a:gd name="connsiteX11" fmla="*/ 260828 w 900424"/>
              <a:gd name="connsiteY11" fmla="*/ 718755 h 923534"/>
              <a:gd name="connsiteX12" fmla="*/ 520342 w 900424"/>
              <a:gd name="connsiteY12" fmla="*/ 718755 h 923534"/>
              <a:gd name="connsiteX13" fmla="*/ 427300 w 900424"/>
              <a:gd name="connsiteY13" fmla="*/ 689243 h 923534"/>
              <a:gd name="connsiteX14" fmla="*/ 260828 w 900424"/>
              <a:gd name="connsiteY14" fmla="*/ 689243 h 923534"/>
              <a:gd name="connsiteX15" fmla="*/ 506777 w 900424"/>
              <a:gd name="connsiteY15" fmla="*/ 613925 h 923534"/>
              <a:gd name="connsiteX16" fmla="*/ 513144 w 900424"/>
              <a:gd name="connsiteY16" fmla="*/ 643437 h 923534"/>
              <a:gd name="connsiteX17" fmla="*/ 752690 w 900424"/>
              <a:gd name="connsiteY17" fmla="*/ 643437 h 923534"/>
              <a:gd name="connsiteX18" fmla="*/ 752690 w 900424"/>
              <a:gd name="connsiteY18" fmla="*/ 613925 h 923534"/>
              <a:gd name="connsiteX19" fmla="*/ 506777 w 900424"/>
              <a:gd name="connsiteY19" fmla="*/ 613925 h 923534"/>
              <a:gd name="connsiteX20" fmla="*/ 260828 w 900424"/>
              <a:gd name="connsiteY20" fmla="*/ 613925 h 923534"/>
              <a:gd name="connsiteX21" fmla="*/ 260828 w 900424"/>
              <a:gd name="connsiteY21" fmla="*/ 643437 h 923534"/>
              <a:gd name="connsiteX22" fmla="*/ 334546 w 900424"/>
              <a:gd name="connsiteY22" fmla="*/ 643437 h 923534"/>
              <a:gd name="connsiteX23" fmla="*/ 307478 w 900424"/>
              <a:gd name="connsiteY23" fmla="*/ 613925 h 923534"/>
              <a:gd name="connsiteX24" fmla="*/ 260828 w 900424"/>
              <a:gd name="connsiteY24" fmla="*/ 613925 h 923534"/>
              <a:gd name="connsiteX25" fmla="*/ 467940 w 900424"/>
              <a:gd name="connsiteY25" fmla="*/ 571317 h 923534"/>
              <a:gd name="connsiteX26" fmla="*/ 385032 w 900424"/>
              <a:gd name="connsiteY26" fmla="*/ 646579 h 923534"/>
              <a:gd name="connsiteX27" fmla="*/ 506739 w 900424"/>
              <a:gd name="connsiteY27" fmla="*/ 697043 h 923534"/>
              <a:gd name="connsiteX28" fmla="*/ 467940 w 900424"/>
              <a:gd name="connsiteY28" fmla="*/ 571317 h 923534"/>
              <a:gd name="connsiteX29" fmla="*/ 260828 w 900424"/>
              <a:gd name="connsiteY29" fmla="*/ 563064 h 923534"/>
              <a:gd name="connsiteX30" fmla="*/ 260828 w 900424"/>
              <a:gd name="connsiteY30" fmla="*/ 568120 h 923534"/>
              <a:gd name="connsiteX31" fmla="*/ 265465 w 900424"/>
              <a:gd name="connsiteY31" fmla="*/ 568120 h 923534"/>
              <a:gd name="connsiteX32" fmla="*/ 260828 w 900424"/>
              <a:gd name="connsiteY32" fmla="*/ 563064 h 923534"/>
              <a:gd name="connsiteX33" fmla="*/ 477023 w 900424"/>
              <a:gd name="connsiteY33" fmla="*/ 538609 h 923534"/>
              <a:gd name="connsiteX34" fmla="*/ 477810 w 900424"/>
              <a:gd name="connsiteY34" fmla="*/ 539466 h 923534"/>
              <a:gd name="connsiteX35" fmla="*/ 481962 w 900424"/>
              <a:gd name="connsiteY35" fmla="*/ 568120 h 923534"/>
              <a:gd name="connsiteX36" fmla="*/ 752690 w 900424"/>
              <a:gd name="connsiteY36" fmla="*/ 568120 h 923534"/>
              <a:gd name="connsiteX37" fmla="*/ 752690 w 900424"/>
              <a:gd name="connsiteY37" fmla="*/ 538609 h 923534"/>
              <a:gd name="connsiteX38" fmla="*/ 477023 w 900424"/>
              <a:gd name="connsiteY38" fmla="*/ 538609 h 923534"/>
              <a:gd name="connsiteX39" fmla="*/ 407941 w 900424"/>
              <a:gd name="connsiteY39" fmla="*/ 463291 h 923534"/>
              <a:gd name="connsiteX40" fmla="*/ 435010 w 900424"/>
              <a:gd name="connsiteY40" fmla="*/ 492803 h 923534"/>
              <a:gd name="connsiteX41" fmla="*/ 752690 w 900424"/>
              <a:gd name="connsiteY41" fmla="*/ 492803 h 923534"/>
              <a:gd name="connsiteX42" fmla="*/ 752690 w 900424"/>
              <a:gd name="connsiteY42" fmla="*/ 463291 h 923534"/>
              <a:gd name="connsiteX43" fmla="*/ 407941 w 900424"/>
              <a:gd name="connsiteY43" fmla="*/ 463291 h 923534"/>
              <a:gd name="connsiteX44" fmla="*/ 338860 w 900424"/>
              <a:gd name="connsiteY44" fmla="*/ 387973 h 923534"/>
              <a:gd name="connsiteX45" fmla="*/ 365929 w 900424"/>
              <a:gd name="connsiteY45" fmla="*/ 417485 h 923534"/>
              <a:gd name="connsiteX46" fmla="*/ 752690 w 900424"/>
              <a:gd name="connsiteY46" fmla="*/ 417485 h 923534"/>
              <a:gd name="connsiteX47" fmla="*/ 752690 w 900424"/>
              <a:gd name="connsiteY47" fmla="*/ 387973 h 923534"/>
              <a:gd name="connsiteX48" fmla="*/ 338860 w 900424"/>
              <a:gd name="connsiteY48" fmla="*/ 387973 h 923534"/>
              <a:gd name="connsiteX49" fmla="*/ 208773 w 900424"/>
              <a:gd name="connsiteY49" fmla="*/ 287844 h 923534"/>
              <a:gd name="connsiteX50" fmla="*/ 191984 w 900424"/>
              <a:gd name="connsiteY50" fmla="*/ 292482 h 923534"/>
              <a:gd name="connsiteX51" fmla="*/ 127335 w 900424"/>
              <a:gd name="connsiteY51" fmla="*/ 351778 h 923534"/>
              <a:gd name="connsiteX52" fmla="*/ 129474 w 900424"/>
              <a:gd name="connsiteY52" fmla="*/ 386557 h 923534"/>
              <a:gd name="connsiteX53" fmla="*/ 350534 w 900424"/>
              <a:gd name="connsiteY53" fmla="*/ 627573 h 923534"/>
              <a:gd name="connsiteX54" fmla="*/ 384998 w 900424"/>
              <a:gd name="connsiteY54" fmla="*/ 632703 h 923534"/>
              <a:gd name="connsiteX55" fmla="*/ 449647 w 900424"/>
              <a:gd name="connsiteY55" fmla="*/ 573407 h 923534"/>
              <a:gd name="connsiteX56" fmla="*/ 447509 w 900424"/>
              <a:gd name="connsiteY56" fmla="*/ 538629 h 923534"/>
              <a:gd name="connsiteX57" fmla="*/ 226448 w 900424"/>
              <a:gd name="connsiteY57" fmla="*/ 297612 h 923534"/>
              <a:gd name="connsiteX58" fmla="*/ 208773 w 900424"/>
              <a:gd name="connsiteY58" fmla="*/ 287844 h 923534"/>
              <a:gd name="connsiteX59" fmla="*/ 260828 w 900424"/>
              <a:gd name="connsiteY59" fmla="*/ 270130 h 923534"/>
              <a:gd name="connsiteX60" fmla="*/ 260828 w 900424"/>
              <a:gd name="connsiteY60" fmla="*/ 302896 h 923534"/>
              <a:gd name="connsiteX61" fmla="*/ 266867 w 900424"/>
              <a:gd name="connsiteY61" fmla="*/ 309479 h 923534"/>
              <a:gd name="connsiteX62" fmla="*/ 555945 w 900424"/>
              <a:gd name="connsiteY62" fmla="*/ 309479 h 923534"/>
              <a:gd name="connsiteX63" fmla="*/ 555945 w 900424"/>
              <a:gd name="connsiteY63" fmla="*/ 270130 h 923534"/>
              <a:gd name="connsiteX64" fmla="*/ 260828 w 900424"/>
              <a:gd name="connsiteY64" fmla="*/ 270130 h 923534"/>
              <a:gd name="connsiteX65" fmla="*/ 593007 w 900424"/>
              <a:gd name="connsiteY65" fmla="*/ 118999 h 923534"/>
              <a:gd name="connsiteX66" fmla="*/ 593004 w 900424"/>
              <a:gd name="connsiteY66" fmla="*/ 272708 h 923534"/>
              <a:gd name="connsiteX67" fmla="*/ 636152 w 900424"/>
              <a:gd name="connsiteY67" fmla="*/ 321246 h 923534"/>
              <a:gd name="connsiteX68" fmla="*/ 797949 w 900424"/>
              <a:gd name="connsiteY68" fmla="*/ 323942 h 923534"/>
              <a:gd name="connsiteX69" fmla="*/ 593007 w 900424"/>
              <a:gd name="connsiteY69" fmla="*/ 118999 h 923534"/>
              <a:gd name="connsiteX70" fmla="*/ 655342 w 900424"/>
              <a:gd name="connsiteY70" fmla="*/ 99358 h 923534"/>
              <a:gd name="connsiteX71" fmla="*/ 721150 w 900424"/>
              <a:gd name="connsiteY71" fmla="*/ 99358 h 923534"/>
              <a:gd name="connsiteX72" fmla="*/ 900424 w 900424"/>
              <a:gd name="connsiteY72" fmla="*/ 280970 h 923534"/>
              <a:gd name="connsiteX73" fmla="*/ 900424 w 900424"/>
              <a:gd name="connsiteY73" fmla="*/ 853426 h 923534"/>
              <a:gd name="connsiteX74" fmla="*/ 852052 w 900424"/>
              <a:gd name="connsiteY74" fmla="*/ 905466 h 923534"/>
              <a:gd name="connsiteX75" fmla="*/ 828360 w 900424"/>
              <a:gd name="connsiteY75" fmla="*/ 905466 h 923534"/>
              <a:gd name="connsiteX76" fmla="*/ 849187 w 900424"/>
              <a:gd name="connsiteY76" fmla="*/ 863377 h 923534"/>
              <a:gd name="connsiteX77" fmla="*/ 849187 w 900424"/>
              <a:gd name="connsiteY77" fmla="*/ 293203 h 923534"/>
              <a:gd name="connsiteX78" fmla="*/ 655342 w 900424"/>
              <a:gd name="connsiteY78" fmla="*/ 99358 h 923534"/>
              <a:gd name="connsiteX79" fmla="*/ 284672 w 900424"/>
              <a:gd name="connsiteY79" fmla="*/ 26454 h 923534"/>
              <a:gd name="connsiteX80" fmla="*/ 306902 w 900424"/>
              <a:gd name="connsiteY80" fmla="*/ 26454 h 923534"/>
              <a:gd name="connsiteX81" fmla="*/ 312459 w 900424"/>
              <a:gd name="connsiteY81" fmla="*/ 32011 h 923534"/>
              <a:gd name="connsiteX82" fmla="*/ 312459 w 900424"/>
              <a:gd name="connsiteY82" fmla="*/ 71044 h 923534"/>
              <a:gd name="connsiteX83" fmla="*/ 341829 w 900424"/>
              <a:gd name="connsiteY83" fmla="*/ 71044 h 923534"/>
              <a:gd name="connsiteX84" fmla="*/ 341829 w 900424"/>
              <a:gd name="connsiteY84" fmla="*/ 32011 h 923534"/>
              <a:gd name="connsiteX85" fmla="*/ 347386 w 900424"/>
              <a:gd name="connsiteY85" fmla="*/ 26454 h 923534"/>
              <a:gd name="connsiteX86" fmla="*/ 369616 w 900424"/>
              <a:gd name="connsiteY86" fmla="*/ 26454 h 923534"/>
              <a:gd name="connsiteX87" fmla="*/ 375173 w 900424"/>
              <a:gd name="connsiteY87" fmla="*/ 32011 h 923534"/>
              <a:gd name="connsiteX88" fmla="*/ 375173 w 900424"/>
              <a:gd name="connsiteY88" fmla="*/ 71044 h 923534"/>
              <a:gd name="connsiteX89" fmla="*/ 404543 w 900424"/>
              <a:gd name="connsiteY89" fmla="*/ 71044 h 923534"/>
              <a:gd name="connsiteX90" fmla="*/ 404543 w 900424"/>
              <a:gd name="connsiteY90" fmla="*/ 32011 h 923534"/>
              <a:gd name="connsiteX91" fmla="*/ 410100 w 900424"/>
              <a:gd name="connsiteY91" fmla="*/ 26454 h 923534"/>
              <a:gd name="connsiteX92" fmla="*/ 432330 w 900424"/>
              <a:gd name="connsiteY92" fmla="*/ 26454 h 923534"/>
              <a:gd name="connsiteX93" fmla="*/ 437887 w 900424"/>
              <a:gd name="connsiteY93" fmla="*/ 32011 h 923534"/>
              <a:gd name="connsiteX94" fmla="*/ 437887 w 900424"/>
              <a:gd name="connsiteY94" fmla="*/ 71044 h 923534"/>
              <a:gd name="connsiteX95" fmla="*/ 467255 w 900424"/>
              <a:gd name="connsiteY95" fmla="*/ 71044 h 923534"/>
              <a:gd name="connsiteX96" fmla="*/ 467255 w 900424"/>
              <a:gd name="connsiteY96" fmla="*/ 32011 h 923534"/>
              <a:gd name="connsiteX97" fmla="*/ 472813 w 900424"/>
              <a:gd name="connsiteY97" fmla="*/ 26454 h 923534"/>
              <a:gd name="connsiteX98" fmla="*/ 495042 w 900424"/>
              <a:gd name="connsiteY98" fmla="*/ 26454 h 923534"/>
              <a:gd name="connsiteX99" fmla="*/ 500600 w 900424"/>
              <a:gd name="connsiteY99" fmla="*/ 32011 h 923534"/>
              <a:gd name="connsiteX100" fmla="*/ 500600 w 900424"/>
              <a:gd name="connsiteY100" fmla="*/ 71044 h 923534"/>
              <a:gd name="connsiteX101" fmla="*/ 606532 w 900424"/>
              <a:gd name="connsiteY101" fmla="*/ 71044 h 923534"/>
              <a:gd name="connsiteX102" fmla="*/ 833814 w 900424"/>
              <a:gd name="connsiteY102" fmla="*/ 298326 h 923534"/>
              <a:gd name="connsiteX103" fmla="*/ 833814 w 900424"/>
              <a:gd name="connsiteY103" fmla="*/ 868500 h 923534"/>
              <a:gd name="connsiteX104" fmla="*/ 778780 w 900424"/>
              <a:gd name="connsiteY104" fmla="*/ 923534 h 923534"/>
              <a:gd name="connsiteX105" fmla="*/ 239864 w 900424"/>
              <a:gd name="connsiteY105" fmla="*/ 923534 h 923534"/>
              <a:gd name="connsiteX106" fmla="*/ 184830 w 900424"/>
              <a:gd name="connsiteY106" fmla="*/ 868500 h 923534"/>
              <a:gd name="connsiteX107" fmla="*/ 184830 w 900424"/>
              <a:gd name="connsiteY107" fmla="*/ 480204 h 923534"/>
              <a:gd name="connsiteX108" fmla="*/ 108913 w 900424"/>
              <a:gd name="connsiteY108" fmla="*/ 397433 h 923534"/>
              <a:gd name="connsiteX109" fmla="*/ 110701 w 900424"/>
              <a:gd name="connsiteY109" fmla="*/ 356021 h 923534"/>
              <a:gd name="connsiteX110" fmla="*/ 184830 w 900424"/>
              <a:gd name="connsiteY110" fmla="*/ 288031 h 923534"/>
              <a:gd name="connsiteX111" fmla="*/ 184830 w 900424"/>
              <a:gd name="connsiteY111" fmla="*/ 255689 h 923534"/>
              <a:gd name="connsiteX112" fmla="*/ 182259 w 900424"/>
              <a:gd name="connsiteY112" fmla="*/ 258049 h 923534"/>
              <a:gd name="connsiteX113" fmla="*/ 181841 w 900424"/>
              <a:gd name="connsiteY113" fmla="*/ 251257 h 923534"/>
              <a:gd name="connsiteX114" fmla="*/ 140694 w 900424"/>
              <a:gd name="connsiteY114" fmla="*/ 206396 h 923534"/>
              <a:gd name="connsiteX115" fmla="*/ 121321 w 900424"/>
              <a:gd name="connsiteY115" fmla="*/ 203511 h 923534"/>
              <a:gd name="connsiteX116" fmla="*/ 42515 w 900424"/>
              <a:gd name="connsiteY116" fmla="*/ 275789 h 923534"/>
              <a:gd name="connsiteX117" fmla="*/ 43718 w 900424"/>
              <a:gd name="connsiteY117" fmla="*/ 295339 h 923534"/>
              <a:gd name="connsiteX118" fmla="*/ 84866 w 900424"/>
              <a:gd name="connsiteY118" fmla="*/ 340201 h 923534"/>
              <a:gd name="connsiteX119" fmla="*/ 91596 w 900424"/>
              <a:gd name="connsiteY119" fmla="*/ 341203 h 923534"/>
              <a:gd name="connsiteX120" fmla="*/ 83614 w 900424"/>
              <a:gd name="connsiteY120" fmla="*/ 348524 h 923534"/>
              <a:gd name="connsiteX121" fmla="*/ 60335 w 900424"/>
              <a:gd name="connsiteY121" fmla="*/ 347519 h 923534"/>
              <a:gd name="connsiteX122" fmla="*/ 15793 w 900424"/>
              <a:gd name="connsiteY122" fmla="*/ 298955 h 923534"/>
              <a:gd name="connsiteX123" fmla="*/ 16799 w 900424"/>
              <a:gd name="connsiteY123" fmla="*/ 275676 h 923534"/>
              <a:gd name="connsiteX124" fmla="*/ 122114 w 900424"/>
              <a:gd name="connsiteY124" fmla="*/ 179082 h 923534"/>
              <a:gd name="connsiteX125" fmla="*/ 145393 w 900424"/>
              <a:gd name="connsiteY125" fmla="*/ 180087 h 923534"/>
              <a:gd name="connsiteX126" fmla="*/ 184830 w 900424"/>
              <a:gd name="connsiteY126" fmla="*/ 223084 h 923534"/>
              <a:gd name="connsiteX127" fmla="*/ 184830 w 900424"/>
              <a:gd name="connsiteY127" fmla="*/ 126079 h 923534"/>
              <a:gd name="connsiteX128" fmla="*/ 239864 w 900424"/>
              <a:gd name="connsiteY128" fmla="*/ 71044 h 923534"/>
              <a:gd name="connsiteX129" fmla="*/ 279115 w 900424"/>
              <a:gd name="connsiteY129" fmla="*/ 71044 h 923534"/>
              <a:gd name="connsiteX130" fmla="*/ 279115 w 900424"/>
              <a:gd name="connsiteY130" fmla="*/ 32011 h 923534"/>
              <a:gd name="connsiteX131" fmla="*/ 284672 w 900424"/>
              <a:gd name="connsiteY131" fmla="*/ 26454 h 923534"/>
              <a:gd name="connsiteX132" fmla="*/ 69366 w 900424"/>
              <a:gd name="connsiteY132" fmla="*/ 97655 h 923534"/>
              <a:gd name="connsiteX133" fmla="*/ 185239 w 900424"/>
              <a:gd name="connsiteY133" fmla="*/ 0 h 923534"/>
              <a:gd name="connsiteX134" fmla="*/ 177024 w 900424"/>
              <a:gd name="connsiteY134" fmla="*/ 4459 h 923534"/>
              <a:gd name="connsiteX135" fmla="*/ 69385 w 900424"/>
              <a:gd name="connsiteY135" fmla="*/ 97673 h 923534"/>
              <a:gd name="connsiteX136" fmla="*/ 0 w 900424"/>
              <a:gd name="connsiteY136" fmla="*/ 195309 h 923534"/>
              <a:gd name="connsiteX137" fmla="*/ 0 w 900424"/>
              <a:gd name="connsiteY137" fmla="*/ 195263 h 923534"/>
              <a:gd name="connsiteX138" fmla="*/ 69366 w 900424"/>
              <a:gd name="connsiteY138" fmla="*/ 97655 h 923534"/>
              <a:gd name="connsiteX0" fmla="*/ 260828 w 900424"/>
              <a:gd name="connsiteY0" fmla="*/ 764558 h 923534"/>
              <a:gd name="connsiteX1" fmla="*/ 260828 w 900424"/>
              <a:gd name="connsiteY1" fmla="*/ 794070 h 923534"/>
              <a:gd name="connsiteX2" fmla="*/ 752690 w 900424"/>
              <a:gd name="connsiteY2" fmla="*/ 794070 h 923534"/>
              <a:gd name="connsiteX3" fmla="*/ 752690 w 900424"/>
              <a:gd name="connsiteY3" fmla="*/ 764558 h 923534"/>
              <a:gd name="connsiteX4" fmla="*/ 260828 w 900424"/>
              <a:gd name="connsiteY4" fmla="*/ 764558 h 923534"/>
              <a:gd name="connsiteX5" fmla="*/ 523025 w 900424"/>
              <a:gd name="connsiteY5" fmla="*/ 689243 h 923534"/>
              <a:gd name="connsiteX6" fmla="*/ 529392 w 900424"/>
              <a:gd name="connsiteY6" fmla="*/ 718755 h 923534"/>
              <a:gd name="connsiteX7" fmla="*/ 752690 w 900424"/>
              <a:gd name="connsiteY7" fmla="*/ 718755 h 923534"/>
              <a:gd name="connsiteX8" fmla="*/ 752690 w 900424"/>
              <a:gd name="connsiteY8" fmla="*/ 689243 h 923534"/>
              <a:gd name="connsiteX9" fmla="*/ 523025 w 900424"/>
              <a:gd name="connsiteY9" fmla="*/ 689243 h 923534"/>
              <a:gd name="connsiteX10" fmla="*/ 260828 w 900424"/>
              <a:gd name="connsiteY10" fmla="*/ 689243 h 923534"/>
              <a:gd name="connsiteX11" fmla="*/ 260828 w 900424"/>
              <a:gd name="connsiteY11" fmla="*/ 718755 h 923534"/>
              <a:gd name="connsiteX12" fmla="*/ 520342 w 900424"/>
              <a:gd name="connsiteY12" fmla="*/ 718755 h 923534"/>
              <a:gd name="connsiteX13" fmla="*/ 427300 w 900424"/>
              <a:gd name="connsiteY13" fmla="*/ 689243 h 923534"/>
              <a:gd name="connsiteX14" fmla="*/ 260828 w 900424"/>
              <a:gd name="connsiteY14" fmla="*/ 689243 h 923534"/>
              <a:gd name="connsiteX15" fmla="*/ 506777 w 900424"/>
              <a:gd name="connsiteY15" fmla="*/ 613925 h 923534"/>
              <a:gd name="connsiteX16" fmla="*/ 513144 w 900424"/>
              <a:gd name="connsiteY16" fmla="*/ 643437 h 923534"/>
              <a:gd name="connsiteX17" fmla="*/ 752690 w 900424"/>
              <a:gd name="connsiteY17" fmla="*/ 643437 h 923534"/>
              <a:gd name="connsiteX18" fmla="*/ 752690 w 900424"/>
              <a:gd name="connsiteY18" fmla="*/ 613925 h 923534"/>
              <a:gd name="connsiteX19" fmla="*/ 506777 w 900424"/>
              <a:gd name="connsiteY19" fmla="*/ 613925 h 923534"/>
              <a:gd name="connsiteX20" fmla="*/ 260828 w 900424"/>
              <a:gd name="connsiteY20" fmla="*/ 613925 h 923534"/>
              <a:gd name="connsiteX21" fmla="*/ 260828 w 900424"/>
              <a:gd name="connsiteY21" fmla="*/ 643437 h 923534"/>
              <a:gd name="connsiteX22" fmla="*/ 334546 w 900424"/>
              <a:gd name="connsiteY22" fmla="*/ 643437 h 923534"/>
              <a:gd name="connsiteX23" fmla="*/ 307478 w 900424"/>
              <a:gd name="connsiteY23" fmla="*/ 613925 h 923534"/>
              <a:gd name="connsiteX24" fmla="*/ 260828 w 900424"/>
              <a:gd name="connsiteY24" fmla="*/ 613925 h 923534"/>
              <a:gd name="connsiteX25" fmla="*/ 467940 w 900424"/>
              <a:gd name="connsiteY25" fmla="*/ 571317 h 923534"/>
              <a:gd name="connsiteX26" fmla="*/ 385032 w 900424"/>
              <a:gd name="connsiteY26" fmla="*/ 646579 h 923534"/>
              <a:gd name="connsiteX27" fmla="*/ 506739 w 900424"/>
              <a:gd name="connsiteY27" fmla="*/ 697043 h 923534"/>
              <a:gd name="connsiteX28" fmla="*/ 467940 w 900424"/>
              <a:gd name="connsiteY28" fmla="*/ 571317 h 923534"/>
              <a:gd name="connsiteX29" fmla="*/ 260828 w 900424"/>
              <a:gd name="connsiteY29" fmla="*/ 563064 h 923534"/>
              <a:gd name="connsiteX30" fmla="*/ 260828 w 900424"/>
              <a:gd name="connsiteY30" fmla="*/ 568120 h 923534"/>
              <a:gd name="connsiteX31" fmla="*/ 265465 w 900424"/>
              <a:gd name="connsiteY31" fmla="*/ 568120 h 923534"/>
              <a:gd name="connsiteX32" fmla="*/ 260828 w 900424"/>
              <a:gd name="connsiteY32" fmla="*/ 563064 h 923534"/>
              <a:gd name="connsiteX33" fmla="*/ 477023 w 900424"/>
              <a:gd name="connsiteY33" fmla="*/ 538609 h 923534"/>
              <a:gd name="connsiteX34" fmla="*/ 477810 w 900424"/>
              <a:gd name="connsiteY34" fmla="*/ 539466 h 923534"/>
              <a:gd name="connsiteX35" fmla="*/ 481962 w 900424"/>
              <a:gd name="connsiteY35" fmla="*/ 568120 h 923534"/>
              <a:gd name="connsiteX36" fmla="*/ 752690 w 900424"/>
              <a:gd name="connsiteY36" fmla="*/ 568120 h 923534"/>
              <a:gd name="connsiteX37" fmla="*/ 752690 w 900424"/>
              <a:gd name="connsiteY37" fmla="*/ 538609 h 923534"/>
              <a:gd name="connsiteX38" fmla="*/ 477023 w 900424"/>
              <a:gd name="connsiteY38" fmla="*/ 538609 h 923534"/>
              <a:gd name="connsiteX39" fmla="*/ 407941 w 900424"/>
              <a:gd name="connsiteY39" fmla="*/ 463291 h 923534"/>
              <a:gd name="connsiteX40" fmla="*/ 435010 w 900424"/>
              <a:gd name="connsiteY40" fmla="*/ 492803 h 923534"/>
              <a:gd name="connsiteX41" fmla="*/ 752690 w 900424"/>
              <a:gd name="connsiteY41" fmla="*/ 492803 h 923534"/>
              <a:gd name="connsiteX42" fmla="*/ 752690 w 900424"/>
              <a:gd name="connsiteY42" fmla="*/ 463291 h 923534"/>
              <a:gd name="connsiteX43" fmla="*/ 407941 w 900424"/>
              <a:gd name="connsiteY43" fmla="*/ 463291 h 923534"/>
              <a:gd name="connsiteX44" fmla="*/ 338860 w 900424"/>
              <a:gd name="connsiteY44" fmla="*/ 387973 h 923534"/>
              <a:gd name="connsiteX45" fmla="*/ 365929 w 900424"/>
              <a:gd name="connsiteY45" fmla="*/ 417485 h 923534"/>
              <a:gd name="connsiteX46" fmla="*/ 752690 w 900424"/>
              <a:gd name="connsiteY46" fmla="*/ 417485 h 923534"/>
              <a:gd name="connsiteX47" fmla="*/ 752690 w 900424"/>
              <a:gd name="connsiteY47" fmla="*/ 387973 h 923534"/>
              <a:gd name="connsiteX48" fmla="*/ 338860 w 900424"/>
              <a:gd name="connsiteY48" fmla="*/ 387973 h 923534"/>
              <a:gd name="connsiteX49" fmla="*/ 208773 w 900424"/>
              <a:gd name="connsiteY49" fmla="*/ 287844 h 923534"/>
              <a:gd name="connsiteX50" fmla="*/ 191984 w 900424"/>
              <a:gd name="connsiteY50" fmla="*/ 292482 h 923534"/>
              <a:gd name="connsiteX51" fmla="*/ 127335 w 900424"/>
              <a:gd name="connsiteY51" fmla="*/ 351778 h 923534"/>
              <a:gd name="connsiteX52" fmla="*/ 129474 w 900424"/>
              <a:gd name="connsiteY52" fmla="*/ 386557 h 923534"/>
              <a:gd name="connsiteX53" fmla="*/ 350534 w 900424"/>
              <a:gd name="connsiteY53" fmla="*/ 627573 h 923534"/>
              <a:gd name="connsiteX54" fmla="*/ 384998 w 900424"/>
              <a:gd name="connsiteY54" fmla="*/ 632703 h 923534"/>
              <a:gd name="connsiteX55" fmla="*/ 449647 w 900424"/>
              <a:gd name="connsiteY55" fmla="*/ 573407 h 923534"/>
              <a:gd name="connsiteX56" fmla="*/ 447509 w 900424"/>
              <a:gd name="connsiteY56" fmla="*/ 538629 h 923534"/>
              <a:gd name="connsiteX57" fmla="*/ 226448 w 900424"/>
              <a:gd name="connsiteY57" fmla="*/ 297612 h 923534"/>
              <a:gd name="connsiteX58" fmla="*/ 208773 w 900424"/>
              <a:gd name="connsiteY58" fmla="*/ 287844 h 923534"/>
              <a:gd name="connsiteX59" fmla="*/ 260828 w 900424"/>
              <a:gd name="connsiteY59" fmla="*/ 270130 h 923534"/>
              <a:gd name="connsiteX60" fmla="*/ 260828 w 900424"/>
              <a:gd name="connsiteY60" fmla="*/ 302896 h 923534"/>
              <a:gd name="connsiteX61" fmla="*/ 266867 w 900424"/>
              <a:gd name="connsiteY61" fmla="*/ 309479 h 923534"/>
              <a:gd name="connsiteX62" fmla="*/ 555945 w 900424"/>
              <a:gd name="connsiteY62" fmla="*/ 309479 h 923534"/>
              <a:gd name="connsiteX63" fmla="*/ 555945 w 900424"/>
              <a:gd name="connsiteY63" fmla="*/ 270130 h 923534"/>
              <a:gd name="connsiteX64" fmla="*/ 260828 w 900424"/>
              <a:gd name="connsiteY64" fmla="*/ 270130 h 923534"/>
              <a:gd name="connsiteX65" fmla="*/ 593007 w 900424"/>
              <a:gd name="connsiteY65" fmla="*/ 118999 h 923534"/>
              <a:gd name="connsiteX66" fmla="*/ 593004 w 900424"/>
              <a:gd name="connsiteY66" fmla="*/ 272708 h 923534"/>
              <a:gd name="connsiteX67" fmla="*/ 636152 w 900424"/>
              <a:gd name="connsiteY67" fmla="*/ 321246 h 923534"/>
              <a:gd name="connsiteX68" fmla="*/ 797949 w 900424"/>
              <a:gd name="connsiteY68" fmla="*/ 323942 h 923534"/>
              <a:gd name="connsiteX69" fmla="*/ 593007 w 900424"/>
              <a:gd name="connsiteY69" fmla="*/ 118999 h 923534"/>
              <a:gd name="connsiteX70" fmla="*/ 655342 w 900424"/>
              <a:gd name="connsiteY70" fmla="*/ 99358 h 923534"/>
              <a:gd name="connsiteX71" fmla="*/ 721150 w 900424"/>
              <a:gd name="connsiteY71" fmla="*/ 99358 h 923534"/>
              <a:gd name="connsiteX72" fmla="*/ 900424 w 900424"/>
              <a:gd name="connsiteY72" fmla="*/ 280970 h 923534"/>
              <a:gd name="connsiteX73" fmla="*/ 900424 w 900424"/>
              <a:gd name="connsiteY73" fmla="*/ 853426 h 923534"/>
              <a:gd name="connsiteX74" fmla="*/ 852052 w 900424"/>
              <a:gd name="connsiteY74" fmla="*/ 905466 h 923534"/>
              <a:gd name="connsiteX75" fmla="*/ 828360 w 900424"/>
              <a:gd name="connsiteY75" fmla="*/ 905466 h 923534"/>
              <a:gd name="connsiteX76" fmla="*/ 849187 w 900424"/>
              <a:gd name="connsiteY76" fmla="*/ 863377 h 923534"/>
              <a:gd name="connsiteX77" fmla="*/ 849187 w 900424"/>
              <a:gd name="connsiteY77" fmla="*/ 293203 h 923534"/>
              <a:gd name="connsiteX78" fmla="*/ 655342 w 900424"/>
              <a:gd name="connsiteY78" fmla="*/ 99358 h 923534"/>
              <a:gd name="connsiteX79" fmla="*/ 284672 w 900424"/>
              <a:gd name="connsiteY79" fmla="*/ 26454 h 923534"/>
              <a:gd name="connsiteX80" fmla="*/ 306902 w 900424"/>
              <a:gd name="connsiteY80" fmla="*/ 26454 h 923534"/>
              <a:gd name="connsiteX81" fmla="*/ 312459 w 900424"/>
              <a:gd name="connsiteY81" fmla="*/ 32011 h 923534"/>
              <a:gd name="connsiteX82" fmla="*/ 312459 w 900424"/>
              <a:gd name="connsiteY82" fmla="*/ 71044 h 923534"/>
              <a:gd name="connsiteX83" fmla="*/ 341829 w 900424"/>
              <a:gd name="connsiteY83" fmla="*/ 71044 h 923534"/>
              <a:gd name="connsiteX84" fmla="*/ 341829 w 900424"/>
              <a:gd name="connsiteY84" fmla="*/ 32011 h 923534"/>
              <a:gd name="connsiteX85" fmla="*/ 347386 w 900424"/>
              <a:gd name="connsiteY85" fmla="*/ 26454 h 923534"/>
              <a:gd name="connsiteX86" fmla="*/ 369616 w 900424"/>
              <a:gd name="connsiteY86" fmla="*/ 26454 h 923534"/>
              <a:gd name="connsiteX87" fmla="*/ 375173 w 900424"/>
              <a:gd name="connsiteY87" fmla="*/ 32011 h 923534"/>
              <a:gd name="connsiteX88" fmla="*/ 375173 w 900424"/>
              <a:gd name="connsiteY88" fmla="*/ 71044 h 923534"/>
              <a:gd name="connsiteX89" fmla="*/ 404543 w 900424"/>
              <a:gd name="connsiteY89" fmla="*/ 71044 h 923534"/>
              <a:gd name="connsiteX90" fmla="*/ 404543 w 900424"/>
              <a:gd name="connsiteY90" fmla="*/ 32011 h 923534"/>
              <a:gd name="connsiteX91" fmla="*/ 410100 w 900424"/>
              <a:gd name="connsiteY91" fmla="*/ 26454 h 923534"/>
              <a:gd name="connsiteX92" fmla="*/ 432330 w 900424"/>
              <a:gd name="connsiteY92" fmla="*/ 26454 h 923534"/>
              <a:gd name="connsiteX93" fmla="*/ 437887 w 900424"/>
              <a:gd name="connsiteY93" fmla="*/ 32011 h 923534"/>
              <a:gd name="connsiteX94" fmla="*/ 437887 w 900424"/>
              <a:gd name="connsiteY94" fmla="*/ 71044 h 923534"/>
              <a:gd name="connsiteX95" fmla="*/ 467255 w 900424"/>
              <a:gd name="connsiteY95" fmla="*/ 71044 h 923534"/>
              <a:gd name="connsiteX96" fmla="*/ 467255 w 900424"/>
              <a:gd name="connsiteY96" fmla="*/ 32011 h 923534"/>
              <a:gd name="connsiteX97" fmla="*/ 472813 w 900424"/>
              <a:gd name="connsiteY97" fmla="*/ 26454 h 923534"/>
              <a:gd name="connsiteX98" fmla="*/ 495042 w 900424"/>
              <a:gd name="connsiteY98" fmla="*/ 26454 h 923534"/>
              <a:gd name="connsiteX99" fmla="*/ 500600 w 900424"/>
              <a:gd name="connsiteY99" fmla="*/ 32011 h 923534"/>
              <a:gd name="connsiteX100" fmla="*/ 500600 w 900424"/>
              <a:gd name="connsiteY100" fmla="*/ 71044 h 923534"/>
              <a:gd name="connsiteX101" fmla="*/ 606532 w 900424"/>
              <a:gd name="connsiteY101" fmla="*/ 71044 h 923534"/>
              <a:gd name="connsiteX102" fmla="*/ 833814 w 900424"/>
              <a:gd name="connsiteY102" fmla="*/ 298326 h 923534"/>
              <a:gd name="connsiteX103" fmla="*/ 833814 w 900424"/>
              <a:gd name="connsiteY103" fmla="*/ 868500 h 923534"/>
              <a:gd name="connsiteX104" fmla="*/ 778780 w 900424"/>
              <a:gd name="connsiteY104" fmla="*/ 923534 h 923534"/>
              <a:gd name="connsiteX105" fmla="*/ 239864 w 900424"/>
              <a:gd name="connsiteY105" fmla="*/ 923534 h 923534"/>
              <a:gd name="connsiteX106" fmla="*/ 184830 w 900424"/>
              <a:gd name="connsiteY106" fmla="*/ 868500 h 923534"/>
              <a:gd name="connsiteX107" fmla="*/ 184830 w 900424"/>
              <a:gd name="connsiteY107" fmla="*/ 480204 h 923534"/>
              <a:gd name="connsiteX108" fmla="*/ 108913 w 900424"/>
              <a:gd name="connsiteY108" fmla="*/ 397433 h 923534"/>
              <a:gd name="connsiteX109" fmla="*/ 110701 w 900424"/>
              <a:gd name="connsiteY109" fmla="*/ 356021 h 923534"/>
              <a:gd name="connsiteX110" fmla="*/ 184830 w 900424"/>
              <a:gd name="connsiteY110" fmla="*/ 288031 h 923534"/>
              <a:gd name="connsiteX111" fmla="*/ 184830 w 900424"/>
              <a:gd name="connsiteY111" fmla="*/ 255689 h 923534"/>
              <a:gd name="connsiteX112" fmla="*/ 182259 w 900424"/>
              <a:gd name="connsiteY112" fmla="*/ 258049 h 923534"/>
              <a:gd name="connsiteX113" fmla="*/ 181841 w 900424"/>
              <a:gd name="connsiteY113" fmla="*/ 251257 h 923534"/>
              <a:gd name="connsiteX114" fmla="*/ 140694 w 900424"/>
              <a:gd name="connsiteY114" fmla="*/ 206396 h 923534"/>
              <a:gd name="connsiteX115" fmla="*/ 121321 w 900424"/>
              <a:gd name="connsiteY115" fmla="*/ 203511 h 923534"/>
              <a:gd name="connsiteX116" fmla="*/ 42515 w 900424"/>
              <a:gd name="connsiteY116" fmla="*/ 275789 h 923534"/>
              <a:gd name="connsiteX117" fmla="*/ 43718 w 900424"/>
              <a:gd name="connsiteY117" fmla="*/ 295339 h 923534"/>
              <a:gd name="connsiteX118" fmla="*/ 84866 w 900424"/>
              <a:gd name="connsiteY118" fmla="*/ 340201 h 923534"/>
              <a:gd name="connsiteX119" fmla="*/ 91596 w 900424"/>
              <a:gd name="connsiteY119" fmla="*/ 341203 h 923534"/>
              <a:gd name="connsiteX120" fmla="*/ 83614 w 900424"/>
              <a:gd name="connsiteY120" fmla="*/ 348524 h 923534"/>
              <a:gd name="connsiteX121" fmla="*/ 60335 w 900424"/>
              <a:gd name="connsiteY121" fmla="*/ 347519 h 923534"/>
              <a:gd name="connsiteX122" fmla="*/ 15793 w 900424"/>
              <a:gd name="connsiteY122" fmla="*/ 298955 h 923534"/>
              <a:gd name="connsiteX123" fmla="*/ 16799 w 900424"/>
              <a:gd name="connsiteY123" fmla="*/ 275676 h 923534"/>
              <a:gd name="connsiteX124" fmla="*/ 122114 w 900424"/>
              <a:gd name="connsiteY124" fmla="*/ 179082 h 923534"/>
              <a:gd name="connsiteX125" fmla="*/ 145393 w 900424"/>
              <a:gd name="connsiteY125" fmla="*/ 180087 h 923534"/>
              <a:gd name="connsiteX126" fmla="*/ 184830 w 900424"/>
              <a:gd name="connsiteY126" fmla="*/ 223084 h 923534"/>
              <a:gd name="connsiteX127" fmla="*/ 184830 w 900424"/>
              <a:gd name="connsiteY127" fmla="*/ 126079 h 923534"/>
              <a:gd name="connsiteX128" fmla="*/ 239864 w 900424"/>
              <a:gd name="connsiteY128" fmla="*/ 71044 h 923534"/>
              <a:gd name="connsiteX129" fmla="*/ 279115 w 900424"/>
              <a:gd name="connsiteY129" fmla="*/ 71044 h 923534"/>
              <a:gd name="connsiteX130" fmla="*/ 279115 w 900424"/>
              <a:gd name="connsiteY130" fmla="*/ 32011 h 923534"/>
              <a:gd name="connsiteX131" fmla="*/ 284672 w 900424"/>
              <a:gd name="connsiteY131" fmla="*/ 26454 h 923534"/>
              <a:gd name="connsiteX132" fmla="*/ 69366 w 900424"/>
              <a:gd name="connsiteY132" fmla="*/ 97655 h 923534"/>
              <a:gd name="connsiteX133" fmla="*/ 185239 w 900424"/>
              <a:gd name="connsiteY133" fmla="*/ 0 h 923534"/>
              <a:gd name="connsiteX134" fmla="*/ 69385 w 900424"/>
              <a:gd name="connsiteY134" fmla="*/ 97673 h 923534"/>
              <a:gd name="connsiteX135" fmla="*/ 0 w 900424"/>
              <a:gd name="connsiteY135" fmla="*/ 195309 h 923534"/>
              <a:gd name="connsiteX136" fmla="*/ 0 w 900424"/>
              <a:gd name="connsiteY136" fmla="*/ 195263 h 923534"/>
              <a:gd name="connsiteX137" fmla="*/ 69366 w 900424"/>
              <a:gd name="connsiteY137" fmla="*/ 97655 h 923534"/>
              <a:gd name="connsiteX0" fmla="*/ 260828 w 900424"/>
              <a:gd name="connsiteY0" fmla="*/ 738104 h 897080"/>
              <a:gd name="connsiteX1" fmla="*/ 260828 w 900424"/>
              <a:gd name="connsiteY1" fmla="*/ 767616 h 897080"/>
              <a:gd name="connsiteX2" fmla="*/ 752690 w 900424"/>
              <a:gd name="connsiteY2" fmla="*/ 767616 h 897080"/>
              <a:gd name="connsiteX3" fmla="*/ 752690 w 900424"/>
              <a:gd name="connsiteY3" fmla="*/ 738104 h 897080"/>
              <a:gd name="connsiteX4" fmla="*/ 260828 w 900424"/>
              <a:gd name="connsiteY4" fmla="*/ 738104 h 897080"/>
              <a:gd name="connsiteX5" fmla="*/ 523025 w 900424"/>
              <a:gd name="connsiteY5" fmla="*/ 662789 h 897080"/>
              <a:gd name="connsiteX6" fmla="*/ 529392 w 900424"/>
              <a:gd name="connsiteY6" fmla="*/ 692301 h 897080"/>
              <a:gd name="connsiteX7" fmla="*/ 752690 w 900424"/>
              <a:gd name="connsiteY7" fmla="*/ 692301 h 897080"/>
              <a:gd name="connsiteX8" fmla="*/ 752690 w 900424"/>
              <a:gd name="connsiteY8" fmla="*/ 662789 h 897080"/>
              <a:gd name="connsiteX9" fmla="*/ 523025 w 900424"/>
              <a:gd name="connsiteY9" fmla="*/ 662789 h 897080"/>
              <a:gd name="connsiteX10" fmla="*/ 260828 w 900424"/>
              <a:gd name="connsiteY10" fmla="*/ 662789 h 897080"/>
              <a:gd name="connsiteX11" fmla="*/ 260828 w 900424"/>
              <a:gd name="connsiteY11" fmla="*/ 692301 h 897080"/>
              <a:gd name="connsiteX12" fmla="*/ 520342 w 900424"/>
              <a:gd name="connsiteY12" fmla="*/ 692301 h 897080"/>
              <a:gd name="connsiteX13" fmla="*/ 427300 w 900424"/>
              <a:gd name="connsiteY13" fmla="*/ 662789 h 897080"/>
              <a:gd name="connsiteX14" fmla="*/ 260828 w 900424"/>
              <a:gd name="connsiteY14" fmla="*/ 662789 h 897080"/>
              <a:gd name="connsiteX15" fmla="*/ 506777 w 900424"/>
              <a:gd name="connsiteY15" fmla="*/ 587471 h 897080"/>
              <a:gd name="connsiteX16" fmla="*/ 513144 w 900424"/>
              <a:gd name="connsiteY16" fmla="*/ 616983 h 897080"/>
              <a:gd name="connsiteX17" fmla="*/ 752690 w 900424"/>
              <a:gd name="connsiteY17" fmla="*/ 616983 h 897080"/>
              <a:gd name="connsiteX18" fmla="*/ 752690 w 900424"/>
              <a:gd name="connsiteY18" fmla="*/ 587471 h 897080"/>
              <a:gd name="connsiteX19" fmla="*/ 506777 w 900424"/>
              <a:gd name="connsiteY19" fmla="*/ 587471 h 897080"/>
              <a:gd name="connsiteX20" fmla="*/ 260828 w 900424"/>
              <a:gd name="connsiteY20" fmla="*/ 587471 h 897080"/>
              <a:gd name="connsiteX21" fmla="*/ 260828 w 900424"/>
              <a:gd name="connsiteY21" fmla="*/ 616983 h 897080"/>
              <a:gd name="connsiteX22" fmla="*/ 334546 w 900424"/>
              <a:gd name="connsiteY22" fmla="*/ 616983 h 897080"/>
              <a:gd name="connsiteX23" fmla="*/ 307478 w 900424"/>
              <a:gd name="connsiteY23" fmla="*/ 587471 h 897080"/>
              <a:gd name="connsiteX24" fmla="*/ 260828 w 900424"/>
              <a:gd name="connsiteY24" fmla="*/ 587471 h 897080"/>
              <a:gd name="connsiteX25" fmla="*/ 467940 w 900424"/>
              <a:gd name="connsiteY25" fmla="*/ 544863 h 897080"/>
              <a:gd name="connsiteX26" fmla="*/ 385032 w 900424"/>
              <a:gd name="connsiteY26" fmla="*/ 620125 h 897080"/>
              <a:gd name="connsiteX27" fmla="*/ 506739 w 900424"/>
              <a:gd name="connsiteY27" fmla="*/ 670589 h 897080"/>
              <a:gd name="connsiteX28" fmla="*/ 467940 w 900424"/>
              <a:gd name="connsiteY28" fmla="*/ 544863 h 897080"/>
              <a:gd name="connsiteX29" fmla="*/ 260828 w 900424"/>
              <a:gd name="connsiteY29" fmla="*/ 536610 h 897080"/>
              <a:gd name="connsiteX30" fmla="*/ 260828 w 900424"/>
              <a:gd name="connsiteY30" fmla="*/ 541666 h 897080"/>
              <a:gd name="connsiteX31" fmla="*/ 265465 w 900424"/>
              <a:gd name="connsiteY31" fmla="*/ 541666 h 897080"/>
              <a:gd name="connsiteX32" fmla="*/ 260828 w 900424"/>
              <a:gd name="connsiteY32" fmla="*/ 536610 h 897080"/>
              <a:gd name="connsiteX33" fmla="*/ 477023 w 900424"/>
              <a:gd name="connsiteY33" fmla="*/ 512155 h 897080"/>
              <a:gd name="connsiteX34" fmla="*/ 477810 w 900424"/>
              <a:gd name="connsiteY34" fmla="*/ 513012 h 897080"/>
              <a:gd name="connsiteX35" fmla="*/ 481962 w 900424"/>
              <a:gd name="connsiteY35" fmla="*/ 541666 h 897080"/>
              <a:gd name="connsiteX36" fmla="*/ 752690 w 900424"/>
              <a:gd name="connsiteY36" fmla="*/ 541666 h 897080"/>
              <a:gd name="connsiteX37" fmla="*/ 752690 w 900424"/>
              <a:gd name="connsiteY37" fmla="*/ 512155 h 897080"/>
              <a:gd name="connsiteX38" fmla="*/ 477023 w 900424"/>
              <a:gd name="connsiteY38" fmla="*/ 512155 h 897080"/>
              <a:gd name="connsiteX39" fmla="*/ 407941 w 900424"/>
              <a:gd name="connsiteY39" fmla="*/ 436837 h 897080"/>
              <a:gd name="connsiteX40" fmla="*/ 435010 w 900424"/>
              <a:gd name="connsiteY40" fmla="*/ 466349 h 897080"/>
              <a:gd name="connsiteX41" fmla="*/ 752690 w 900424"/>
              <a:gd name="connsiteY41" fmla="*/ 466349 h 897080"/>
              <a:gd name="connsiteX42" fmla="*/ 752690 w 900424"/>
              <a:gd name="connsiteY42" fmla="*/ 436837 h 897080"/>
              <a:gd name="connsiteX43" fmla="*/ 407941 w 900424"/>
              <a:gd name="connsiteY43" fmla="*/ 436837 h 897080"/>
              <a:gd name="connsiteX44" fmla="*/ 338860 w 900424"/>
              <a:gd name="connsiteY44" fmla="*/ 361519 h 897080"/>
              <a:gd name="connsiteX45" fmla="*/ 365929 w 900424"/>
              <a:gd name="connsiteY45" fmla="*/ 391031 h 897080"/>
              <a:gd name="connsiteX46" fmla="*/ 752690 w 900424"/>
              <a:gd name="connsiteY46" fmla="*/ 391031 h 897080"/>
              <a:gd name="connsiteX47" fmla="*/ 752690 w 900424"/>
              <a:gd name="connsiteY47" fmla="*/ 361519 h 897080"/>
              <a:gd name="connsiteX48" fmla="*/ 338860 w 900424"/>
              <a:gd name="connsiteY48" fmla="*/ 361519 h 897080"/>
              <a:gd name="connsiteX49" fmla="*/ 208773 w 900424"/>
              <a:gd name="connsiteY49" fmla="*/ 261390 h 897080"/>
              <a:gd name="connsiteX50" fmla="*/ 191984 w 900424"/>
              <a:gd name="connsiteY50" fmla="*/ 266028 h 897080"/>
              <a:gd name="connsiteX51" fmla="*/ 127335 w 900424"/>
              <a:gd name="connsiteY51" fmla="*/ 325324 h 897080"/>
              <a:gd name="connsiteX52" fmla="*/ 129474 w 900424"/>
              <a:gd name="connsiteY52" fmla="*/ 360103 h 897080"/>
              <a:gd name="connsiteX53" fmla="*/ 350534 w 900424"/>
              <a:gd name="connsiteY53" fmla="*/ 601119 h 897080"/>
              <a:gd name="connsiteX54" fmla="*/ 384998 w 900424"/>
              <a:gd name="connsiteY54" fmla="*/ 606249 h 897080"/>
              <a:gd name="connsiteX55" fmla="*/ 449647 w 900424"/>
              <a:gd name="connsiteY55" fmla="*/ 546953 h 897080"/>
              <a:gd name="connsiteX56" fmla="*/ 447509 w 900424"/>
              <a:gd name="connsiteY56" fmla="*/ 512175 h 897080"/>
              <a:gd name="connsiteX57" fmla="*/ 226448 w 900424"/>
              <a:gd name="connsiteY57" fmla="*/ 271158 h 897080"/>
              <a:gd name="connsiteX58" fmla="*/ 208773 w 900424"/>
              <a:gd name="connsiteY58" fmla="*/ 261390 h 897080"/>
              <a:gd name="connsiteX59" fmla="*/ 260828 w 900424"/>
              <a:gd name="connsiteY59" fmla="*/ 243676 h 897080"/>
              <a:gd name="connsiteX60" fmla="*/ 260828 w 900424"/>
              <a:gd name="connsiteY60" fmla="*/ 276442 h 897080"/>
              <a:gd name="connsiteX61" fmla="*/ 266867 w 900424"/>
              <a:gd name="connsiteY61" fmla="*/ 283025 h 897080"/>
              <a:gd name="connsiteX62" fmla="*/ 555945 w 900424"/>
              <a:gd name="connsiteY62" fmla="*/ 283025 h 897080"/>
              <a:gd name="connsiteX63" fmla="*/ 555945 w 900424"/>
              <a:gd name="connsiteY63" fmla="*/ 243676 h 897080"/>
              <a:gd name="connsiteX64" fmla="*/ 260828 w 900424"/>
              <a:gd name="connsiteY64" fmla="*/ 243676 h 897080"/>
              <a:gd name="connsiteX65" fmla="*/ 593007 w 900424"/>
              <a:gd name="connsiteY65" fmla="*/ 92545 h 897080"/>
              <a:gd name="connsiteX66" fmla="*/ 593004 w 900424"/>
              <a:gd name="connsiteY66" fmla="*/ 246254 h 897080"/>
              <a:gd name="connsiteX67" fmla="*/ 636152 w 900424"/>
              <a:gd name="connsiteY67" fmla="*/ 294792 h 897080"/>
              <a:gd name="connsiteX68" fmla="*/ 797949 w 900424"/>
              <a:gd name="connsiteY68" fmla="*/ 297488 h 897080"/>
              <a:gd name="connsiteX69" fmla="*/ 593007 w 900424"/>
              <a:gd name="connsiteY69" fmla="*/ 92545 h 897080"/>
              <a:gd name="connsiteX70" fmla="*/ 655342 w 900424"/>
              <a:gd name="connsiteY70" fmla="*/ 72904 h 897080"/>
              <a:gd name="connsiteX71" fmla="*/ 721150 w 900424"/>
              <a:gd name="connsiteY71" fmla="*/ 72904 h 897080"/>
              <a:gd name="connsiteX72" fmla="*/ 900424 w 900424"/>
              <a:gd name="connsiteY72" fmla="*/ 254516 h 897080"/>
              <a:gd name="connsiteX73" fmla="*/ 900424 w 900424"/>
              <a:gd name="connsiteY73" fmla="*/ 826972 h 897080"/>
              <a:gd name="connsiteX74" fmla="*/ 852052 w 900424"/>
              <a:gd name="connsiteY74" fmla="*/ 879012 h 897080"/>
              <a:gd name="connsiteX75" fmla="*/ 828360 w 900424"/>
              <a:gd name="connsiteY75" fmla="*/ 879012 h 897080"/>
              <a:gd name="connsiteX76" fmla="*/ 849187 w 900424"/>
              <a:gd name="connsiteY76" fmla="*/ 836923 h 897080"/>
              <a:gd name="connsiteX77" fmla="*/ 849187 w 900424"/>
              <a:gd name="connsiteY77" fmla="*/ 266749 h 897080"/>
              <a:gd name="connsiteX78" fmla="*/ 655342 w 900424"/>
              <a:gd name="connsiteY78" fmla="*/ 72904 h 897080"/>
              <a:gd name="connsiteX79" fmla="*/ 284672 w 900424"/>
              <a:gd name="connsiteY79" fmla="*/ 0 h 897080"/>
              <a:gd name="connsiteX80" fmla="*/ 306902 w 900424"/>
              <a:gd name="connsiteY80" fmla="*/ 0 h 897080"/>
              <a:gd name="connsiteX81" fmla="*/ 312459 w 900424"/>
              <a:gd name="connsiteY81" fmla="*/ 5557 h 897080"/>
              <a:gd name="connsiteX82" fmla="*/ 312459 w 900424"/>
              <a:gd name="connsiteY82" fmla="*/ 44590 h 897080"/>
              <a:gd name="connsiteX83" fmla="*/ 341829 w 900424"/>
              <a:gd name="connsiteY83" fmla="*/ 44590 h 897080"/>
              <a:gd name="connsiteX84" fmla="*/ 341829 w 900424"/>
              <a:gd name="connsiteY84" fmla="*/ 5557 h 897080"/>
              <a:gd name="connsiteX85" fmla="*/ 347386 w 900424"/>
              <a:gd name="connsiteY85" fmla="*/ 0 h 897080"/>
              <a:gd name="connsiteX86" fmla="*/ 369616 w 900424"/>
              <a:gd name="connsiteY86" fmla="*/ 0 h 897080"/>
              <a:gd name="connsiteX87" fmla="*/ 375173 w 900424"/>
              <a:gd name="connsiteY87" fmla="*/ 5557 h 897080"/>
              <a:gd name="connsiteX88" fmla="*/ 375173 w 900424"/>
              <a:gd name="connsiteY88" fmla="*/ 44590 h 897080"/>
              <a:gd name="connsiteX89" fmla="*/ 404543 w 900424"/>
              <a:gd name="connsiteY89" fmla="*/ 44590 h 897080"/>
              <a:gd name="connsiteX90" fmla="*/ 404543 w 900424"/>
              <a:gd name="connsiteY90" fmla="*/ 5557 h 897080"/>
              <a:gd name="connsiteX91" fmla="*/ 410100 w 900424"/>
              <a:gd name="connsiteY91" fmla="*/ 0 h 897080"/>
              <a:gd name="connsiteX92" fmla="*/ 432330 w 900424"/>
              <a:gd name="connsiteY92" fmla="*/ 0 h 897080"/>
              <a:gd name="connsiteX93" fmla="*/ 437887 w 900424"/>
              <a:gd name="connsiteY93" fmla="*/ 5557 h 897080"/>
              <a:gd name="connsiteX94" fmla="*/ 437887 w 900424"/>
              <a:gd name="connsiteY94" fmla="*/ 44590 h 897080"/>
              <a:gd name="connsiteX95" fmla="*/ 467255 w 900424"/>
              <a:gd name="connsiteY95" fmla="*/ 44590 h 897080"/>
              <a:gd name="connsiteX96" fmla="*/ 467255 w 900424"/>
              <a:gd name="connsiteY96" fmla="*/ 5557 h 897080"/>
              <a:gd name="connsiteX97" fmla="*/ 472813 w 900424"/>
              <a:gd name="connsiteY97" fmla="*/ 0 h 897080"/>
              <a:gd name="connsiteX98" fmla="*/ 495042 w 900424"/>
              <a:gd name="connsiteY98" fmla="*/ 0 h 897080"/>
              <a:gd name="connsiteX99" fmla="*/ 500600 w 900424"/>
              <a:gd name="connsiteY99" fmla="*/ 5557 h 897080"/>
              <a:gd name="connsiteX100" fmla="*/ 500600 w 900424"/>
              <a:gd name="connsiteY100" fmla="*/ 44590 h 897080"/>
              <a:gd name="connsiteX101" fmla="*/ 606532 w 900424"/>
              <a:gd name="connsiteY101" fmla="*/ 44590 h 897080"/>
              <a:gd name="connsiteX102" fmla="*/ 833814 w 900424"/>
              <a:gd name="connsiteY102" fmla="*/ 271872 h 897080"/>
              <a:gd name="connsiteX103" fmla="*/ 833814 w 900424"/>
              <a:gd name="connsiteY103" fmla="*/ 842046 h 897080"/>
              <a:gd name="connsiteX104" fmla="*/ 778780 w 900424"/>
              <a:gd name="connsiteY104" fmla="*/ 897080 h 897080"/>
              <a:gd name="connsiteX105" fmla="*/ 239864 w 900424"/>
              <a:gd name="connsiteY105" fmla="*/ 897080 h 897080"/>
              <a:gd name="connsiteX106" fmla="*/ 184830 w 900424"/>
              <a:gd name="connsiteY106" fmla="*/ 842046 h 897080"/>
              <a:gd name="connsiteX107" fmla="*/ 184830 w 900424"/>
              <a:gd name="connsiteY107" fmla="*/ 453750 h 897080"/>
              <a:gd name="connsiteX108" fmla="*/ 108913 w 900424"/>
              <a:gd name="connsiteY108" fmla="*/ 370979 h 897080"/>
              <a:gd name="connsiteX109" fmla="*/ 110701 w 900424"/>
              <a:gd name="connsiteY109" fmla="*/ 329567 h 897080"/>
              <a:gd name="connsiteX110" fmla="*/ 184830 w 900424"/>
              <a:gd name="connsiteY110" fmla="*/ 261577 h 897080"/>
              <a:gd name="connsiteX111" fmla="*/ 184830 w 900424"/>
              <a:gd name="connsiteY111" fmla="*/ 229235 h 897080"/>
              <a:gd name="connsiteX112" fmla="*/ 182259 w 900424"/>
              <a:gd name="connsiteY112" fmla="*/ 231595 h 897080"/>
              <a:gd name="connsiteX113" fmla="*/ 181841 w 900424"/>
              <a:gd name="connsiteY113" fmla="*/ 224803 h 897080"/>
              <a:gd name="connsiteX114" fmla="*/ 140694 w 900424"/>
              <a:gd name="connsiteY114" fmla="*/ 179942 h 897080"/>
              <a:gd name="connsiteX115" fmla="*/ 121321 w 900424"/>
              <a:gd name="connsiteY115" fmla="*/ 177057 h 897080"/>
              <a:gd name="connsiteX116" fmla="*/ 42515 w 900424"/>
              <a:gd name="connsiteY116" fmla="*/ 249335 h 897080"/>
              <a:gd name="connsiteX117" fmla="*/ 43718 w 900424"/>
              <a:gd name="connsiteY117" fmla="*/ 268885 h 897080"/>
              <a:gd name="connsiteX118" fmla="*/ 84866 w 900424"/>
              <a:gd name="connsiteY118" fmla="*/ 313747 h 897080"/>
              <a:gd name="connsiteX119" fmla="*/ 91596 w 900424"/>
              <a:gd name="connsiteY119" fmla="*/ 314749 h 897080"/>
              <a:gd name="connsiteX120" fmla="*/ 83614 w 900424"/>
              <a:gd name="connsiteY120" fmla="*/ 322070 h 897080"/>
              <a:gd name="connsiteX121" fmla="*/ 60335 w 900424"/>
              <a:gd name="connsiteY121" fmla="*/ 321065 h 897080"/>
              <a:gd name="connsiteX122" fmla="*/ 15793 w 900424"/>
              <a:gd name="connsiteY122" fmla="*/ 272501 h 897080"/>
              <a:gd name="connsiteX123" fmla="*/ 16799 w 900424"/>
              <a:gd name="connsiteY123" fmla="*/ 249222 h 897080"/>
              <a:gd name="connsiteX124" fmla="*/ 122114 w 900424"/>
              <a:gd name="connsiteY124" fmla="*/ 152628 h 897080"/>
              <a:gd name="connsiteX125" fmla="*/ 145393 w 900424"/>
              <a:gd name="connsiteY125" fmla="*/ 153633 h 897080"/>
              <a:gd name="connsiteX126" fmla="*/ 184830 w 900424"/>
              <a:gd name="connsiteY126" fmla="*/ 196630 h 897080"/>
              <a:gd name="connsiteX127" fmla="*/ 184830 w 900424"/>
              <a:gd name="connsiteY127" fmla="*/ 99625 h 897080"/>
              <a:gd name="connsiteX128" fmla="*/ 239864 w 900424"/>
              <a:gd name="connsiteY128" fmla="*/ 44590 h 897080"/>
              <a:gd name="connsiteX129" fmla="*/ 279115 w 900424"/>
              <a:gd name="connsiteY129" fmla="*/ 44590 h 897080"/>
              <a:gd name="connsiteX130" fmla="*/ 279115 w 900424"/>
              <a:gd name="connsiteY130" fmla="*/ 5557 h 897080"/>
              <a:gd name="connsiteX131" fmla="*/ 284672 w 900424"/>
              <a:gd name="connsiteY131" fmla="*/ 0 h 897080"/>
              <a:gd name="connsiteX132" fmla="*/ 69366 w 900424"/>
              <a:gd name="connsiteY132" fmla="*/ 71201 h 897080"/>
              <a:gd name="connsiteX133" fmla="*/ 69385 w 900424"/>
              <a:gd name="connsiteY133" fmla="*/ 71219 h 897080"/>
              <a:gd name="connsiteX134" fmla="*/ 0 w 900424"/>
              <a:gd name="connsiteY134" fmla="*/ 168855 h 897080"/>
              <a:gd name="connsiteX135" fmla="*/ 0 w 900424"/>
              <a:gd name="connsiteY135" fmla="*/ 168809 h 897080"/>
              <a:gd name="connsiteX136" fmla="*/ 69366 w 900424"/>
              <a:gd name="connsiteY136" fmla="*/ 71201 h 897080"/>
              <a:gd name="connsiteX0" fmla="*/ 260828 w 900424"/>
              <a:gd name="connsiteY0" fmla="*/ 738104 h 897080"/>
              <a:gd name="connsiteX1" fmla="*/ 260828 w 900424"/>
              <a:gd name="connsiteY1" fmla="*/ 767616 h 897080"/>
              <a:gd name="connsiteX2" fmla="*/ 752690 w 900424"/>
              <a:gd name="connsiteY2" fmla="*/ 767616 h 897080"/>
              <a:gd name="connsiteX3" fmla="*/ 752690 w 900424"/>
              <a:gd name="connsiteY3" fmla="*/ 738104 h 897080"/>
              <a:gd name="connsiteX4" fmla="*/ 260828 w 900424"/>
              <a:gd name="connsiteY4" fmla="*/ 738104 h 897080"/>
              <a:gd name="connsiteX5" fmla="*/ 523025 w 900424"/>
              <a:gd name="connsiteY5" fmla="*/ 662789 h 897080"/>
              <a:gd name="connsiteX6" fmla="*/ 529392 w 900424"/>
              <a:gd name="connsiteY6" fmla="*/ 692301 h 897080"/>
              <a:gd name="connsiteX7" fmla="*/ 752690 w 900424"/>
              <a:gd name="connsiteY7" fmla="*/ 692301 h 897080"/>
              <a:gd name="connsiteX8" fmla="*/ 752690 w 900424"/>
              <a:gd name="connsiteY8" fmla="*/ 662789 h 897080"/>
              <a:gd name="connsiteX9" fmla="*/ 523025 w 900424"/>
              <a:gd name="connsiteY9" fmla="*/ 662789 h 897080"/>
              <a:gd name="connsiteX10" fmla="*/ 260828 w 900424"/>
              <a:gd name="connsiteY10" fmla="*/ 662789 h 897080"/>
              <a:gd name="connsiteX11" fmla="*/ 260828 w 900424"/>
              <a:gd name="connsiteY11" fmla="*/ 692301 h 897080"/>
              <a:gd name="connsiteX12" fmla="*/ 520342 w 900424"/>
              <a:gd name="connsiteY12" fmla="*/ 692301 h 897080"/>
              <a:gd name="connsiteX13" fmla="*/ 427300 w 900424"/>
              <a:gd name="connsiteY13" fmla="*/ 662789 h 897080"/>
              <a:gd name="connsiteX14" fmla="*/ 260828 w 900424"/>
              <a:gd name="connsiteY14" fmla="*/ 662789 h 897080"/>
              <a:gd name="connsiteX15" fmla="*/ 506777 w 900424"/>
              <a:gd name="connsiteY15" fmla="*/ 587471 h 897080"/>
              <a:gd name="connsiteX16" fmla="*/ 513144 w 900424"/>
              <a:gd name="connsiteY16" fmla="*/ 616983 h 897080"/>
              <a:gd name="connsiteX17" fmla="*/ 752690 w 900424"/>
              <a:gd name="connsiteY17" fmla="*/ 616983 h 897080"/>
              <a:gd name="connsiteX18" fmla="*/ 752690 w 900424"/>
              <a:gd name="connsiteY18" fmla="*/ 587471 h 897080"/>
              <a:gd name="connsiteX19" fmla="*/ 506777 w 900424"/>
              <a:gd name="connsiteY19" fmla="*/ 587471 h 897080"/>
              <a:gd name="connsiteX20" fmla="*/ 260828 w 900424"/>
              <a:gd name="connsiteY20" fmla="*/ 587471 h 897080"/>
              <a:gd name="connsiteX21" fmla="*/ 260828 w 900424"/>
              <a:gd name="connsiteY21" fmla="*/ 616983 h 897080"/>
              <a:gd name="connsiteX22" fmla="*/ 334546 w 900424"/>
              <a:gd name="connsiteY22" fmla="*/ 616983 h 897080"/>
              <a:gd name="connsiteX23" fmla="*/ 307478 w 900424"/>
              <a:gd name="connsiteY23" fmla="*/ 587471 h 897080"/>
              <a:gd name="connsiteX24" fmla="*/ 260828 w 900424"/>
              <a:gd name="connsiteY24" fmla="*/ 587471 h 897080"/>
              <a:gd name="connsiteX25" fmla="*/ 467940 w 900424"/>
              <a:gd name="connsiteY25" fmla="*/ 544863 h 897080"/>
              <a:gd name="connsiteX26" fmla="*/ 385032 w 900424"/>
              <a:gd name="connsiteY26" fmla="*/ 620125 h 897080"/>
              <a:gd name="connsiteX27" fmla="*/ 506739 w 900424"/>
              <a:gd name="connsiteY27" fmla="*/ 670589 h 897080"/>
              <a:gd name="connsiteX28" fmla="*/ 467940 w 900424"/>
              <a:gd name="connsiteY28" fmla="*/ 544863 h 897080"/>
              <a:gd name="connsiteX29" fmla="*/ 260828 w 900424"/>
              <a:gd name="connsiteY29" fmla="*/ 536610 h 897080"/>
              <a:gd name="connsiteX30" fmla="*/ 260828 w 900424"/>
              <a:gd name="connsiteY30" fmla="*/ 541666 h 897080"/>
              <a:gd name="connsiteX31" fmla="*/ 265465 w 900424"/>
              <a:gd name="connsiteY31" fmla="*/ 541666 h 897080"/>
              <a:gd name="connsiteX32" fmla="*/ 260828 w 900424"/>
              <a:gd name="connsiteY32" fmla="*/ 536610 h 897080"/>
              <a:gd name="connsiteX33" fmla="*/ 477023 w 900424"/>
              <a:gd name="connsiteY33" fmla="*/ 512155 h 897080"/>
              <a:gd name="connsiteX34" fmla="*/ 477810 w 900424"/>
              <a:gd name="connsiteY34" fmla="*/ 513012 h 897080"/>
              <a:gd name="connsiteX35" fmla="*/ 481962 w 900424"/>
              <a:gd name="connsiteY35" fmla="*/ 541666 h 897080"/>
              <a:gd name="connsiteX36" fmla="*/ 752690 w 900424"/>
              <a:gd name="connsiteY36" fmla="*/ 541666 h 897080"/>
              <a:gd name="connsiteX37" fmla="*/ 752690 w 900424"/>
              <a:gd name="connsiteY37" fmla="*/ 512155 h 897080"/>
              <a:gd name="connsiteX38" fmla="*/ 477023 w 900424"/>
              <a:gd name="connsiteY38" fmla="*/ 512155 h 897080"/>
              <a:gd name="connsiteX39" fmla="*/ 407941 w 900424"/>
              <a:gd name="connsiteY39" fmla="*/ 436837 h 897080"/>
              <a:gd name="connsiteX40" fmla="*/ 435010 w 900424"/>
              <a:gd name="connsiteY40" fmla="*/ 466349 h 897080"/>
              <a:gd name="connsiteX41" fmla="*/ 752690 w 900424"/>
              <a:gd name="connsiteY41" fmla="*/ 466349 h 897080"/>
              <a:gd name="connsiteX42" fmla="*/ 752690 w 900424"/>
              <a:gd name="connsiteY42" fmla="*/ 436837 h 897080"/>
              <a:gd name="connsiteX43" fmla="*/ 407941 w 900424"/>
              <a:gd name="connsiteY43" fmla="*/ 436837 h 897080"/>
              <a:gd name="connsiteX44" fmla="*/ 338860 w 900424"/>
              <a:gd name="connsiteY44" fmla="*/ 361519 h 897080"/>
              <a:gd name="connsiteX45" fmla="*/ 365929 w 900424"/>
              <a:gd name="connsiteY45" fmla="*/ 391031 h 897080"/>
              <a:gd name="connsiteX46" fmla="*/ 752690 w 900424"/>
              <a:gd name="connsiteY46" fmla="*/ 391031 h 897080"/>
              <a:gd name="connsiteX47" fmla="*/ 752690 w 900424"/>
              <a:gd name="connsiteY47" fmla="*/ 361519 h 897080"/>
              <a:gd name="connsiteX48" fmla="*/ 338860 w 900424"/>
              <a:gd name="connsiteY48" fmla="*/ 361519 h 897080"/>
              <a:gd name="connsiteX49" fmla="*/ 208773 w 900424"/>
              <a:gd name="connsiteY49" fmla="*/ 261390 h 897080"/>
              <a:gd name="connsiteX50" fmla="*/ 191984 w 900424"/>
              <a:gd name="connsiteY50" fmla="*/ 266028 h 897080"/>
              <a:gd name="connsiteX51" fmla="*/ 127335 w 900424"/>
              <a:gd name="connsiteY51" fmla="*/ 325324 h 897080"/>
              <a:gd name="connsiteX52" fmla="*/ 129474 w 900424"/>
              <a:gd name="connsiteY52" fmla="*/ 360103 h 897080"/>
              <a:gd name="connsiteX53" fmla="*/ 350534 w 900424"/>
              <a:gd name="connsiteY53" fmla="*/ 601119 h 897080"/>
              <a:gd name="connsiteX54" fmla="*/ 384998 w 900424"/>
              <a:gd name="connsiteY54" fmla="*/ 606249 h 897080"/>
              <a:gd name="connsiteX55" fmla="*/ 449647 w 900424"/>
              <a:gd name="connsiteY55" fmla="*/ 546953 h 897080"/>
              <a:gd name="connsiteX56" fmla="*/ 447509 w 900424"/>
              <a:gd name="connsiteY56" fmla="*/ 512175 h 897080"/>
              <a:gd name="connsiteX57" fmla="*/ 226448 w 900424"/>
              <a:gd name="connsiteY57" fmla="*/ 271158 h 897080"/>
              <a:gd name="connsiteX58" fmla="*/ 208773 w 900424"/>
              <a:gd name="connsiteY58" fmla="*/ 261390 h 897080"/>
              <a:gd name="connsiteX59" fmla="*/ 260828 w 900424"/>
              <a:gd name="connsiteY59" fmla="*/ 243676 h 897080"/>
              <a:gd name="connsiteX60" fmla="*/ 260828 w 900424"/>
              <a:gd name="connsiteY60" fmla="*/ 276442 h 897080"/>
              <a:gd name="connsiteX61" fmla="*/ 266867 w 900424"/>
              <a:gd name="connsiteY61" fmla="*/ 283025 h 897080"/>
              <a:gd name="connsiteX62" fmla="*/ 555945 w 900424"/>
              <a:gd name="connsiteY62" fmla="*/ 283025 h 897080"/>
              <a:gd name="connsiteX63" fmla="*/ 555945 w 900424"/>
              <a:gd name="connsiteY63" fmla="*/ 243676 h 897080"/>
              <a:gd name="connsiteX64" fmla="*/ 260828 w 900424"/>
              <a:gd name="connsiteY64" fmla="*/ 243676 h 897080"/>
              <a:gd name="connsiteX65" fmla="*/ 593007 w 900424"/>
              <a:gd name="connsiteY65" fmla="*/ 92545 h 897080"/>
              <a:gd name="connsiteX66" fmla="*/ 593004 w 900424"/>
              <a:gd name="connsiteY66" fmla="*/ 246254 h 897080"/>
              <a:gd name="connsiteX67" fmla="*/ 636152 w 900424"/>
              <a:gd name="connsiteY67" fmla="*/ 294792 h 897080"/>
              <a:gd name="connsiteX68" fmla="*/ 797949 w 900424"/>
              <a:gd name="connsiteY68" fmla="*/ 297488 h 897080"/>
              <a:gd name="connsiteX69" fmla="*/ 593007 w 900424"/>
              <a:gd name="connsiteY69" fmla="*/ 92545 h 897080"/>
              <a:gd name="connsiteX70" fmla="*/ 655342 w 900424"/>
              <a:gd name="connsiteY70" fmla="*/ 72904 h 897080"/>
              <a:gd name="connsiteX71" fmla="*/ 721150 w 900424"/>
              <a:gd name="connsiteY71" fmla="*/ 72904 h 897080"/>
              <a:gd name="connsiteX72" fmla="*/ 900424 w 900424"/>
              <a:gd name="connsiteY72" fmla="*/ 254516 h 897080"/>
              <a:gd name="connsiteX73" fmla="*/ 900424 w 900424"/>
              <a:gd name="connsiteY73" fmla="*/ 826972 h 897080"/>
              <a:gd name="connsiteX74" fmla="*/ 852052 w 900424"/>
              <a:gd name="connsiteY74" fmla="*/ 879012 h 897080"/>
              <a:gd name="connsiteX75" fmla="*/ 828360 w 900424"/>
              <a:gd name="connsiteY75" fmla="*/ 879012 h 897080"/>
              <a:gd name="connsiteX76" fmla="*/ 849187 w 900424"/>
              <a:gd name="connsiteY76" fmla="*/ 836923 h 897080"/>
              <a:gd name="connsiteX77" fmla="*/ 849187 w 900424"/>
              <a:gd name="connsiteY77" fmla="*/ 266749 h 897080"/>
              <a:gd name="connsiteX78" fmla="*/ 655342 w 900424"/>
              <a:gd name="connsiteY78" fmla="*/ 72904 h 897080"/>
              <a:gd name="connsiteX79" fmla="*/ 284672 w 900424"/>
              <a:gd name="connsiteY79" fmla="*/ 0 h 897080"/>
              <a:gd name="connsiteX80" fmla="*/ 306902 w 900424"/>
              <a:gd name="connsiteY80" fmla="*/ 0 h 897080"/>
              <a:gd name="connsiteX81" fmla="*/ 312459 w 900424"/>
              <a:gd name="connsiteY81" fmla="*/ 5557 h 897080"/>
              <a:gd name="connsiteX82" fmla="*/ 312459 w 900424"/>
              <a:gd name="connsiteY82" fmla="*/ 44590 h 897080"/>
              <a:gd name="connsiteX83" fmla="*/ 341829 w 900424"/>
              <a:gd name="connsiteY83" fmla="*/ 44590 h 897080"/>
              <a:gd name="connsiteX84" fmla="*/ 341829 w 900424"/>
              <a:gd name="connsiteY84" fmla="*/ 5557 h 897080"/>
              <a:gd name="connsiteX85" fmla="*/ 347386 w 900424"/>
              <a:gd name="connsiteY85" fmla="*/ 0 h 897080"/>
              <a:gd name="connsiteX86" fmla="*/ 369616 w 900424"/>
              <a:gd name="connsiteY86" fmla="*/ 0 h 897080"/>
              <a:gd name="connsiteX87" fmla="*/ 375173 w 900424"/>
              <a:gd name="connsiteY87" fmla="*/ 5557 h 897080"/>
              <a:gd name="connsiteX88" fmla="*/ 375173 w 900424"/>
              <a:gd name="connsiteY88" fmla="*/ 44590 h 897080"/>
              <a:gd name="connsiteX89" fmla="*/ 404543 w 900424"/>
              <a:gd name="connsiteY89" fmla="*/ 44590 h 897080"/>
              <a:gd name="connsiteX90" fmla="*/ 404543 w 900424"/>
              <a:gd name="connsiteY90" fmla="*/ 5557 h 897080"/>
              <a:gd name="connsiteX91" fmla="*/ 410100 w 900424"/>
              <a:gd name="connsiteY91" fmla="*/ 0 h 897080"/>
              <a:gd name="connsiteX92" fmla="*/ 432330 w 900424"/>
              <a:gd name="connsiteY92" fmla="*/ 0 h 897080"/>
              <a:gd name="connsiteX93" fmla="*/ 437887 w 900424"/>
              <a:gd name="connsiteY93" fmla="*/ 5557 h 897080"/>
              <a:gd name="connsiteX94" fmla="*/ 437887 w 900424"/>
              <a:gd name="connsiteY94" fmla="*/ 44590 h 897080"/>
              <a:gd name="connsiteX95" fmla="*/ 467255 w 900424"/>
              <a:gd name="connsiteY95" fmla="*/ 44590 h 897080"/>
              <a:gd name="connsiteX96" fmla="*/ 467255 w 900424"/>
              <a:gd name="connsiteY96" fmla="*/ 5557 h 897080"/>
              <a:gd name="connsiteX97" fmla="*/ 472813 w 900424"/>
              <a:gd name="connsiteY97" fmla="*/ 0 h 897080"/>
              <a:gd name="connsiteX98" fmla="*/ 495042 w 900424"/>
              <a:gd name="connsiteY98" fmla="*/ 0 h 897080"/>
              <a:gd name="connsiteX99" fmla="*/ 500600 w 900424"/>
              <a:gd name="connsiteY99" fmla="*/ 5557 h 897080"/>
              <a:gd name="connsiteX100" fmla="*/ 500600 w 900424"/>
              <a:gd name="connsiteY100" fmla="*/ 44590 h 897080"/>
              <a:gd name="connsiteX101" fmla="*/ 606532 w 900424"/>
              <a:gd name="connsiteY101" fmla="*/ 44590 h 897080"/>
              <a:gd name="connsiteX102" fmla="*/ 833814 w 900424"/>
              <a:gd name="connsiteY102" fmla="*/ 271872 h 897080"/>
              <a:gd name="connsiteX103" fmla="*/ 833814 w 900424"/>
              <a:gd name="connsiteY103" fmla="*/ 842046 h 897080"/>
              <a:gd name="connsiteX104" fmla="*/ 778780 w 900424"/>
              <a:gd name="connsiteY104" fmla="*/ 897080 h 897080"/>
              <a:gd name="connsiteX105" fmla="*/ 239864 w 900424"/>
              <a:gd name="connsiteY105" fmla="*/ 897080 h 897080"/>
              <a:gd name="connsiteX106" fmla="*/ 184830 w 900424"/>
              <a:gd name="connsiteY106" fmla="*/ 842046 h 897080"/>
              <a:gd name="connsiteX107" fmla="*/ 184830 w 900424"/>
              <a:gd name="connsiteY107" fmla="*/ 453750 h 897080"/>
              <a:gd name="connsiteX108" fmla="*/ 108913 w 900424"/>
              <a:gd name="connsiteY108" fmla="*/ 370979 h 897080"/>
              <a:gd name="connsiteX109" fmla="*/ 110701 w 900424"/>
              <a:gd name="connsiteY109" fmla="*/ 329567 h 897080"/>
              <a:gd name="connsiteX110" fmla="*/ 184830 w 900424"/>
              <a:gd name="connsiteY110" fmla="*/ 261577 h 897080"/>
              <a:gd name="connsiteX111" fmla="*/ 184830 w 900424"/>
              <a:gd name="connsiteY111" fmla="*/ 229235 h 897080"/>
              <a:gd name="connsiteX112" fmla="*/ 182259 w 900424"/>
              <a:gd name="connsiteY112" fmla="*/ 231595 h 897080"/>
              <a:gd name="connsiteX113" fmla="*/ 181841 w 900424"/>
              <a:gd name="connsiteY113" fmla="*/ 224803 h 897080"/>
              <a:gd name="connsiteX114" fmla="*/ 140694 w 900424"/>
              <a:gd name="connsiteY114" fmla="*/ 179942 h 897080"/>
              <a:gd name="connsiteX115" fmla="*/ 121321 w 900424"/>
              <a:gd name="connsiteY115" fmla="*/ 177057 h 897080"/>
              <a:gd name="connsiteX116" fmla="*/ 42515 w 900424"/>
              <a:gd name="connsiteY116" fmla="*/ 249335 h 897080"/>
              <a:gd name="connsiteX117" fmla="*/ 43718 w 900424"/>
              <a:gd name="connsiteY117" fmla="*/ 268885 h 897080"/>
              <a:gd name="connsiteX118" fmla="*/ 84866 w 900424"/>
              <a:gd name="connsiteY118" fmla="*/ 313747 h 897080"/>
              <a:gd name="connsiteX119" fmla="*/ 91596 w 900424"/>
              <a:gd name="connsiteY119" fmla="*/ 314749 h 897080"/>
              <a:gd name="connsiteX120" fmla="*/ 83614 w 900424"/>
              <a:gd name="connsiteY120" fmla="*/ 322070 h 897080"/>
              <a:gd name="connsiteX121" fmla="*/ 60335 w 900424"/>
              <a:gd name="connsiteY121" fmla="*/ 321065 h 897080"/>
              <a:gd name="connsiteX122" fmla="*/ 15793 w 900424"/>
              <a:gd name="connsiteY122" fmla="*/ 272501 h 897080"/>
              <a:gd name="connsiteX123" fmla="*/ 16799 w 900424"/>
              <a:gd name="connsiteY123" fmla="*/ 249222 h 897080"/>
              <a:gd name="connsiteX124" fmla="*/ 122114 w 900424"/>
              <a:gd name="connsiteY124" fmla="*/ 152628 h 897080"/>
              <a:gd name="connsiteX125" fmla="*/ 145393 w 900424"/>
              <a:gd name="connsiteY125" fmla="*/ 153633 h 897080"/>
              <a:gd name="connsiteX126" fmla="*/ 184830 w 900424"/>
              <a:gd name="connsiteY126" fmla="*/ 196630 h 897080"/>
              <a:gd name="connsiteX127" fmla="*/ 184830 w 900424"/>
              <a:gd name="connsiteY127" fmla="*/ 99625 h 897080"/>
              <a:gd name="connsiteX128" fmla="*/ 239864 w 900424"/>
              <a:gd name="connsiteY128" fmla="*/ 44590 h 897080"/>
              <a:gd name="connsiteX129" fmla="*/ 279115 w 900424"/>
              <a:gd name="connsiteY129" fmla="*/ 44590 h 897080"/>
              <a:gd name="connsiteX130" fmla="*/ 279115 w 900424"/>
              <a:gd name="connsiteY130" fmla="*/ 5557 h 897080"/>
              <a:gd name="connsiteX131" fmla="*/ 284672 w 900424"/>
              <a:gd name="connsiteY131" fmla="*/ 0 h 897080"/>
              <a:gd name="connsiteX132" fmla="*/ 0 w 900424"/>
              <a:gd name="connsiteY132" fmla="*/ 168809 h 897080"/>
              <a:gd name="connsiteX133" fmla="*/ 69385 w 900424"/>
              <a:gd name="connsiteY133" fmla="*/ 71219 h 897080"/>
              <a:gd name="connsiteX134" fmla="*/ 0 w 900424"/>
              <a:gd name="connsiteY134" fmla="*/ 168855 h 897080"/>
              <a:gd name="connsiteX135" fmla="*/ 0 w 900424"/>
              <a:gd name="connsiteY135" fmla="*/ 168809 h 897080"/>
              <a:gd name="connsiteX0" fmla="*/ 260828 w 900424"/>
              <a:gd name="connsiteY0" fmla="*/ 738104 h 897080"/>
              <a:gd name="connsiteX1" fmla="*/ 260828 w 900424"/>
              <a:gd name="connsiteY1" fmla="*/ 767616 h 897080"/>
              <a:gd name="connsiteX2" fmla="*/ 752690 w 900424"/>
              <a:gd name="connsiteY2" fmla="*/ 767616 h 897080"/>
              <a:gd name="connsiteX3" fmla="*/ 752690 w 900424"/>
              <a:gd name="connsiteY3" fmla="*/ 738104 h 897080"/>
              <a:gd name="connsiteX4" fmla="*/ 260828 w 900424"/>
              <a:gd name="connsiteY4" fmla="*/ 738104 h 897080"/>
              <a:gd name="connsiteX5" fmla="*/ 523025 w 900424"/>
              <a:gd name="connsiteY5" fmla="*/ 662789 h 897080"/>
              <a:gd name="connsiteX6" fmla="*/ 529392 w 900424"/>
              <a:gd name="connsiteY6" fmla="*/ 692301 h 897080"/>
              <a:gd name="connsiteX7" fmla="*/ 752690 w 900424"/>
              <a:gd name="connsiteY7" fmla="*/ 692301 h 897080"/>
              <a:gd name="connsiteX8" fmla="*/ 752690 w 900424"/>
              <a:gd name="connsiteY8" fmla="*/ 662789 h 897080"/>
              <a:gd name="connsiteX9" fmla="*/ 523025 w 900424"/>
              <a:gd name="connsiteY9" fmla="*/ 662789 h 897080"/>
              <a:gd name="connsiteX10" fmla="*/ 260828 w 900424"/>
              <a:gd name="connsiteY10" fmla="*/ 662789 h 897080"/>
              <a:gd name="connsiteX11" fmla="*/ 260828 w 900424"/>
              <a:gd name="connsiteY11" fmla="*/ 692301 h 897080"/>
              <a:gd name="connsiteX12" fmla="*/ 520342 w 900424"/>
              <a:gd name="connsiteY12" fmla="*/ 692301 h 897080"/>
              <a:gd name="connsiteX13" fmla="*/ 427300 w 900424"/>
              <a:gd name="connsiteY13" fmla="*/ 662789 h 897080"/>
              <a:gd name="connsiteX14" fmla="*/ 260828 w 900424"/>
              <a:gd name="connsiteY14" fmla="*/ 662789 h 897080"/>
              <a:gd name="connsiteX15" fmla="*/ 506777 w 900424"/>
              <a:gd name="connsiteY15" fmla="*/ 587471 h 897080"/>
              <a:gd name="connsiteX16" fmla="*/ 513144 w 900424"/>
              <a:gd name="connsiteY16" fmla="*/ 616983 h 897080"/>
              <a:gd name="connsiteX17" fmla="*/ 752690 w 900424"/>
              <a:gd name="connsiteY17" fmla="*/ 616983 h 897080"/>
              <a:gd name="connsiteX18" fmla="*/ 752690 w 900424"/>
              <a:gd name="connsiteY18" fmla="*/ 587471 h 897080"/>
              <a:gd name="connsiteX19" fmla="*/ 506777 w 900424"/>
              <a:gd name="connsiteY19" fmla="*/ 587471 h 897080"/>
              <a:gd name="connsiteX20" fmla="*/ 260828 w 900424"/>
              <a:gd name="connsiteY20" fmla="*/ 587471 h 897080"/>
              <a:gd name="connsiteX21" fmla="*/ 260828 w 900424"/>
              <a:gd name="connsiteY21" fmla="*/ 616983 h 897080"/>
              <a:gd name="connsiteX22" fmla="*/ 334546 w 900424"/>
              <a:gd name="connsiteY22" fmla="*/ 616983 h 897080"/>
              <a:gd name="connsiteX23" fmla="*/ 307478 w 900424"/>
              <a:gd name="connsiteY23" fmla="*/ 587471 h 897080"/>
              <a:gd name="connsiteX24" fmla="*/ 260828 w 900424"/>
              <a:gd name="connsiteY24" fmla="*/ 587471 h 897080"/>
              <a:gd name="connsiteX25" fmla="*/ 467940 w 900424"/>
              <a:gd name="connsiteY25" fmla="*/ 544863 h 897080"/>
              <a:gd name="connsiteX26" fmla="*/ 385032 w 900424"/>
              <a:gd name="connsiteY26" fmla="*/ 620125 h 897080"/>
              <a:gd name="connsiteX27" fmla="*/ 506739 w 900424"/>
              <a:gd name="connsiteY27" fmla="*/ 670589 h 897080"/>
              <a:gd name="connsiteX28" fmla="*/ 467940 w 900424"/>
              <a:gd name="connsiteY28" fmla="*/ 544863 h 897080"/>
              <a:gd name="connsiteX29" fmla="*/ 260828 w 900424"/>
              <a:gd name="connsiteY29" fmla="*/ 536610 h 897080"/>
              <a:gd name="connsiteX30" fmla="*/ 260828 w 900424"/>
              <a:gd name="connsiteY30" fmla="*/ 541666 h 897080"/>
              <a:gd name="connsiteX31" fmla="*/ 265465 w 900424"/>
              <a:gd name="connsiteY31" fmla="*/ 541666 h 897080"/>
              <a:gd name="connsiteX32" fmla="*/ 260828 w 900424"/>
              <a:gd name="connsiteY32" fmla="*/ 536610 h 897080"/>
              <a:gd name="connsiteX33" fmla="*/ 477023 w 900424"/>
              <a:gd name="connsiteY33" fmla="*/ 512155 h 897080"/>
              <a:gd name="connsiteX34" fmla="*/ 477810 w 900424"/>
              <a:gd name="connsiteY34" fmla="*/ 513012 h 897080"/>
              <a:gd name="connsiteX35" fmla="*/ 481962 w 900424"/>
              <a:gd name="connsiteY35" fmla="*/ 541666 h 897080"/>
              <a:gd name="connsiteX36" fmla="*/ 752690 w 900424"/>
              <a:gd name="connsiteY36" fmla="*/ 541666 h 897080"/>
              <a:gd name="connsiteX37" fmla="*/ 752690 w 900424"/>
              <a:gd name="connsiteY37" fmla="*/ 512155 h 897080"/>
              <a:gd name="connsiteX38" fmla="*/ 477023 w 900424"/>
              <a:gd name="connsiteY38" fmla="*/ 512155 h 897080"/>
              <a:gd name="connsiteX39" fmla="*/ 407941 w 900424"/>
              <a:gd name="connsiteY39" fmla="*/ 436837 h 897080"/>
              <a:gd name="connsiteX40" fmla="*/ 435010 w 900424"/>
              <a:gd name="connsiteY40" fmla="*/ 466349 h 897080"/>
              <a:gd name="connsiteX41" fmla="*/ 752690 w 900424"/>
              <a:gd name="connsiteY41" fmla="*/ 466349 h 897080"/>
              <a:gd name="connsiteX42" fmla="*/ 752690 w 900424"/>
              <a:gd name="connsiteY42" fmla="*/ 436837 h 897080"/>
              <a:gd name="connsiteX43" fmla="*/ 407941 w 900424"/>
              <a:gd name="connsiteY43" fmla="*/ 436837 h 897080"/>
              <a:gd name="connsiteX44" fmla="*/ 338860 w 900424"/>
              <a:gd name="connsiteY44" fmla="*/ 361519 h 897080"/>
              <a:gd name="connsiteX45" fmla="*/ 365929 w 900424"/>
              <a:gd name="connsiteY45" fmla="*/ 391031 h 897080"/>
              <a:gd name="connsiteX46" fmla="*/ 752690 w 900424"/>
              <a:gd name="connsiteY46" fmla="*/ 391031 h 897080"/>
              <a:gd name="connsiteX47" fmla="*/ 752690 w 900424"/>
              <a:gd name="connsiteY47" fmla="*/ 361519 h 897080"/>
              <a:gd name="connsiteX48" fmla="*/ 338860 w 900424"/>
              <a:gd name="connsiteY48" fmla="*/ 361519 h 897080"/>
              <a:gd name="connsiteX49" fmla="*/ 208773 w 900424"/>
              <a:gd name="connsiteY49" fmla="*/ 261390 h 897080"/>
              <a:gd name="connsiteX50" fmla="*/ 191984 w 900424"/>
              <a:gd name="connsiteY50" fmla="*/ 266028 h 897080"/>
              <a:gd name="connsiteX51" fmla="*/ 127335 w 900424"/>
              <a:gd name="connsiteY51" fmla="*/ 325324 h 897080"/>
              <a:gd name="connsiteX52" fmla="*/ 129474 w 900424"/>
              <a:gd name="connsiteY52" fmla="*/ 360103 h 897080"/>
              <a:gd name="connsiteX53" fmla="*/ 350534 w 900424"/>
              <a:gd name="connsiteY53" fmla="*/ 601119 h 897080"/>
              <a:gd name="connsiteX54" fmla="*/ 384998 w 900424"/>
              <a:gd name="connsiteY54" fmla="*/ 606249 h 897080"/>
              <a:gd name="connsiteX55" fmla="*/ 449647 w 900424"/>
              <a:gd name="connsiteY55" fmla="*/ 546953 h 897080"/>
              <a:gd name="connsiteX56" fmla="*/ 447509 w 900424"/>
              <a:gd name="connsiteY56" fmla="*/ 512175 h 897080"/>
              <a:gd name="connsiteX57" fmla="*/ 226448 w 900424"/>
              <a:gd name="connsiteY57" fmla="*/ 271158 h 897080"/>
              <a:gd name="connsiteX58" fmla="*/ 208773 w 900424"/>
              <a:gd name="connsiteY58" fmla="*/ 261390 h 897080"/>
              <a:gd name="connsiteX59" fmla="*/ 260828 w 900424"/>
              <a:gd name="connsiteY59" fmla="*/ 243676 h 897080"/>
              <a:gd name="connsiteX60" fmla="*/ 260828 w 900424"/>
              <a:gd name="connsiteY60" fmla="*/ 276442 h 897080"/>
              <a:gd name="connsiteX61" fmla="*/ 266867 w 900424"/>
              <a:gd name="connsiteY61" fmla="*/ 283025 h 897080"/>
              <a:gd name="connsiteX62" fmla="*/ 555945 w 900424"/>
              <a:gd name="connsiteY62" fmla="*/ 283025 h 897080"/>
              <a:gd name="connsiteX63" fmla="*/ 555945 w 900424"/>
              <a:gd name="connsiteY63" fmla="*/ 243676 h 897080"/>
              <a:gd name="connsiteX64" fmla="*/ 260828 w 900424"/>
              <a:gd name="connsiteY64" fmla="*/ 243676 h 897080"/>
              <a:gd name="connsiteX65" fmla="*/ 593007 w 900424"/>
              <a:gd name="connsiteY65" fmla="*/ 92545 h 897080"/>
              <a:gd name="connsiteX66" fmla="*/ 593004 w 900424"/>
              <a:gd name="connsiteY66" fmla="*/ 246254 h 897080"/>
              <a:gd name="connsiteX67" fmla="*/ 636152 w 900424"/>
              <a:gd name="connsiteY67" fmla="*/ 294792 h 897080"/>
              <a:gd name="connsiteX68" fmla="*/ 797949 w 900424"/>
              <a:gd name="connsiteY68" fmla="*/ 297488 h 897080"/>
              <a:gd name="connsiteX69" fmla="*/ 593007 w 900424"/>
              <a:gd name="connsiteY69" fmla="*/ 92545 h 897080"/>
              <a:gd name="connsiteX70" fmla="*/ 655342 w 900424"/>
              <a:gd name="connsiteY70" fmla="*/ 72904 h 897080"/>
              <a:gd name="connsiteX71" fmla="*/ 721150 w 900424"/>
              <a:gd name="connsiteY71" fmla="*/ 72904 h 897080"/>
              <a:gd name="connsiteX72" fmla="*/ 900424 w 900424"/>
              <a:gd name="connsiteY72" fmla="*/ 254516 h 897080"/>
              <a:gd name="connsiteX73" fmla="*/ 900424 w 900424"/>
              <a:gd name="connsiteY73" fmla="*/ 826972 h 897080"/>
              <a:gd name="connsiteX74" fmla="*/ 852052 w 900424"/>
              <a:gd name="connsiteY74" fmla="*/ 879012 h 897080"/>
              <a:gd name="connsiteX75" fmla="*/ 828360 w 900424"/>
              <a:gd name="connsiteY75" fmla="*/ 879012 h 897080"/>
              <a:gd name="connsiteX76" fmla="*/ 849187 w 900424"/>
              <a:gd name="connsiteY76" fmla="*/ 836923 h 897080"/>
              <a:gd name="connsiteX77" fmla="*/ 849187 w 900424"/>
              <a:gd name="connsiteY77" fmla="*/ 266749 h 897080"/>
              <a:gd name="connsiteX78" fmla="*/ 655342 w 900424"/>
              <a:gd name="connsiteY78" fmla="*/ 72904 h 897080"/>
              <a:gd name="connsiteX79" fmla="*/ 284672 w 900424"/>
              <a:gd name="connsiteY79" fmla="*/ 0 h 897080"/>
              <a:gd name="connsiteX80" fmla="*/ 306902 w 900424"/>
              <a:gd name="connsiteY80" fmla="*/ 0 h 897080"/>
              <a:gd name="connsiteX81" fmla="*/ 312459 w 900424"/>
              <a:gd name="connsiteY81" fmla="*/ 5557 h 897080"/>
              <a:gd name="connsiteX82" fmla="*/ 312459 w 900424"/>
              <a:gd name="connsiteY82" fmla="*/ 44590 h 897080"/>
              <a:gd name="connsiteX83" fmla="*/ 341829 w 900424"/>
              <a:gd name="connsiteY83" fmla="*/ 44590 h 897080"/>
              <a:gd name="connsiteX84" fmla="*/ 341829 w 900424"/>
              <a:gd name="connsiteY84" fmla="*/ 5557 h 897080"/>
              <a:gd name="connsiteX85" fmla="*/ 347386 w 900424"/>
              <a:gd name="connsiteY85" fmla="*/ 0 h 897080"/>
              <a:gd name="connsiteX86" fmla="*/ 369616 w 900424"/>
              <a:gd name="connsiteY86" fmla="*/ 0 h 897080"/>
              <a:gd name="connsiteX87" fmla="*/ 375173 w 900424"/>
              <a:gd name="connsiteY87" fmla="*/ 5557 h 897080"/>
              <a:gd name="connsiteX88" fmla="*/ 375173 w 900424"/>
              <a:gd name="connsiteY88" fmla="*/ 44590 h 897080"/>
              <a:gd name="connsiteX89" fmla="*/ 404543 w 900424"/>
              <a:gd name="connsiteY89" fmla="*/ 44590 h 897080"/>
              <a:gd name="connsiteX90" fmla="*/ 404543 w 900424"/>
              <a:gd name="connsiteY90" fmla="*/ 5557 h 897080"/>
              <a:gd name="connsiteX91" fmla="*/ 410100 w 900424"/>
              <a:gd name="connsiteY91" fmla="*/ 0 h 897080"/>
              <a:gd name="connsiteX92" fmla="*/ 432330 w 900424"/>
              <a:gd name="connsiteY92" fmla="*/ 0 h 897080"/>
              <a:gd name="connsiteX93" fmla="*/ 437887 w 900424"/>
              <a:gd name="connsiteY93" fmla="*/ 5557 h 897080"/>
              <a:gd name="connsiteX94" fmla="*/ 437887 w 900424"/>
              <a:gd name="connsiteY94" fmla="*/ 44590 h 897080"/>
              <a:gd name="connsiteX95" fmla="*/ 467255 w 900424"/>
              <a:gd name="connsiteY95" fmla="*/ 44590 h 897080"/>
              <a:gd name="connsiteX96" fmla="*/ 467255 w 900424"/>
              <a:gd name="connsiteY96" fmla="*/ 5557 h 897080"/>
              <a:gd name="connsiteX97" fmla="*/ 472813 w 900424"/>
              <a:gd name="connsiteY97" fmla="*/ 0 h 897080"/>
              <a:gd name="connsiteX98" fmla="*/ 495042 w 900424"/>
              <a:gd name="connsiteY98" fmla="*/ 0 h 897080"/>
              <a:gd name="connsiteX99" fmla="*/ 500600 w 900424"/>
              <a:gd name="connsiteY99" fmla="*/ 5557 h 897080"/>
              <a:gd name="connsiteX100" fmla="*/ 500600 w 900424"/>
              <a:gd name="connsiteY100" fmla="*/ 44590 h 897080"/>
              <a:gd name="connsiteX101" fmla="*/ 606532 w 900424"/>
              <a:gd name="connsiteY101" fmla="*/ 44590 h 897080"/>
              <a:gd name="connsiteX102" fmla="*/ 833814 w 900424"/>
              <a:gd name="connsiteY102" fmla="*/ 271872 h 897080"/>
              <a:gd name="connsiteX103" fmla="*/ 833814 w 900424"/>
              <a:gd name="connsiteY103" fmla="*/ 842046 h 897080"/>
              <a:gd name="connsiteX104" fmla="*/ 778780 w 900424"/>
              <a:gd name="connsiteY104" fmla="*/ 897080 h 897080"/>
              <a:gd name="connsiteX105" fmla="*/ 239864 w 900424"/>
              <a:gd name="connsiteY105" fmla="*/ 897080 h 897080"/>
              <a:gd name="connsiteX106" fmla="*/ 184830 w 900424"/>
              <a:gd name="connsiteY106" fmla="*/ 842046 h 897080"/>
              <a:gd name="connsiteX107" fmla="*/ 184830 w 900424"/>
              <a:gd name="connsiteY107" fmla="*/ 453750 h 897080"/>
              <a:gd name="connsiteX108" fmla="*/ 108913 w 900424"/>
              <a:gd name="connsiteY108" fmla="*/ 370979 h 897080"/>
              <a:gd name="connsiteX109" fmla="*/ 110701 w 900424"/>
              <a:gd name="connsiteY109" fmla="*/ 329567 h 897080"/>
              <a:gd name="connsiteX110" fmla="*/ 184830 w 900424"/>
              <a:gd name="connsiteY110" fmla="*/ 261577 h 897080"/>
              <a:gd name="connsiteX111" fmla="*/ 184830 w 900424"/>
              <a:gd name="connsiteY111" fmla="*/ 229235 h 897080"/>
              <a:gd name="connsiteX112" fmla="*/ 182259 w 900424"/>
              <a:gd name="connsiteY112" fmla="*/ 231595 h 897080"/>
              <a:gd name="connsiteX113" fmla="*/ 181841 w 900424"/>
              <a:gd name="connsiteY113" fmla="*/ 224803 h 897080"/>
              <a:gd name="connsiteX114" fmla="*/ 140694 w 900424"/>
              <a:gd name="connsiteY114" fmla="*/ 179942 h 897080"/>
              <a:gd name="connsiteX115" fmla="*/ 121321 w 900424"/>
              <a:gd name="connsiteY115" fmla="*/ 177057 h 897080"/>
              <a:gd name="connsiteX116" fmla="*/ 42515 w 900424"/>
              <a:gd name="connsiteY116" fmla="*/ 249335 h 897080"/>
              <a:gd name="connsiteX117" fmla="*/ 43718 w 900424"/>
              <a:gd name="connsiteY117" fmla="*/ 268885 h 897080"/>
              <a:gd name="connsiteX118" fmla="*/ 84866 w 900424"/>
              <a:gd name="connsiteY118" fmla="*/ 313747 h 897080"/>
              <a:gd name="connsiteX119" fmla="*/ 91596 w 900424"/>
              <a:gd name="connsiteY119" fmla="*/ 314749 h 897080"/>
              <a:gd name="connsiteX120" fmla="*/ 83614 w 900424"/>
              <a:gd name="connsiteY120" fmla="*/ 322070 h 897080"/>
              <a:gd name="connsiteX121" fmla="*/ 60335 w 900424"/>
              <a:gd name="connsiteY121" fmla="*/ 321065 h 897080"/>
              <a:gd name="connsiteX122" fmla="*/ 15793 w 900424"/>
              <a:gd name="connsiteY122" fmla="*/ 272501 h 897080"/>
              <a:gd name="connsiteX123" fmla="*/ 16799 w 900424"/>
              <a:gd name="connsiteY123" fmla="*/ 249222 h 897080"/>
              <a:gd name="connsiteX124" fmla="*/ 122114 w 900424"/>
              <a:gd name="connsiteY124" fmla="*/ 152628 h 897080"/>
              <a:gd name="connsiteX125" fmla="*/ 145393 w 900424"/>
              <a:gd name="connsiteY125" fmla="*/ 153633 h 897080"/>
              <a:gd name="connsiteX126" fmla="*/ 184830 w 900424"/>
              <a:gd name="connsiteY126" fmla="*/ 196630 h 897080"/>
              <a:gd name="connsiteX127" fmla="*/ 184830 w 900424"/>
              <a:gd name="connsiteY127" fmla="*/ 99625 h 897080"/>
              <a:gd name="connsiteX128" fmla="*/ 239864 w 900424"/>
              <a:gd name="connsiteY128" fmla="*/ 44590 h 897080"/>
              <a:gd name="connsiteX129" fmla="*/ 279115 w 900424"/>
              <a:gd name="connsiteY129" fmla="*/ 44590 h 897080"/>
              <a:gd name="connsiteX130" fmla="*/ 279115 w 900424"/>
              <a:gd name="connsiteY130" fmla="*/ 5557 h 897080"/>
              <a:gd name="connsiteX131" fmla="*/ 284672 w 900424"/>
              <a:gd name="connsiteY131" fmla="*/ 0 h 897080"/>
              <a:gd name="connsiteX132" fmla="*/ 0 w 900424"/>
              <a:gd name="connsiteY132" fmla="*/ 168855 h 897080"/>
              <a:gd name="connsiteX133" fmla="*/ 69385 w 900424"/>
              <a:gd name="connsiteY133" fmla="*/ 71219 h 897080"/>
              <a:gd name="connsiteX134" fmla="*/ 0 w 900424"/>
              <a:gd name="connsiteY134" fmla="*/ 168855 h 897080"/>
              <a:gd name="connsiteX0" fmla="*/ 249370 w 888966"/>
              <a:gd name="connsiteY0" fmla="*/ 738104 h 897080"/>
              <a:gd name="connsiteX1" fmla="*/ 249370 w 888966"/>
              <a:gd name="connsiteY1" fmla="*/ 767616 h 897080"/>
              <a:gd name="connsiteX2" fmla="*/ 741232 w 888966"/>
              <a:gd name="connsiteY2" fmla="*/ 767616 h 897080"/>
              <a:gd name="connsiteX3" fmla="*/ 741232 w 888966"/>
              <a:gd name="connsiteY3" fmla="*/ 738104 h 897080"/>
              <a:gd name="connsiteX4" fmla="*/ 249370 w 888966"/>
              <a:gd name="connsiteY4" fmla="*/ 738104 h 897080"/>
              <a:gd name="connsiteX5" fmla="*/ 511567 w 888966"/>
              <a:gd name="connsiteY5" fmla="*/ 662789 h 897080"/>
              <a:gd name="connsiteX6" fmla="*/ 517934 w 888966"/>
              <a:gd name="connsiteY6" fmla="*/ 692301 h 897080"/>
              <a:gd name="connsiteX7" fmla="*/ 741232 w 888966"/>
              <a:gd name="connsiteY7" fmla="*/ 692301 h 897080"/>
              <a:gd name="connsiteX8" fmla="*/ 741232 w 888966"/>
              <a:gd name="connsiteY8" fmla="*/ 662789 h 897080"/>
              <a:gd name="connsiteX9" fmla="*/ 511567 w 888966"/>
              <a:gd name="connsiteY9" fmla="*/ 662789 h 897080"/>
              <a:gd name="connsiteX10" fmla="*/ 249370 w 888966"/>
              <a:gd name="connsiteY10" fmla="*/ 662789 h 897080"/>
              <a:gd name="connsiteX11" fmla="*/ 249370 w 888966"/>
              <a:gd name="connsiteY11" fmla="*/ 692301 h 897080"/>
              <a:gd name="connsiteX12" fmla="*/ 508884 w 888966"/>
              <a:gd name="connsiteY12" fmla="*/ 692301 h 897080"/>
              <a:gd name="connsiteX13" fmla="*/ 415842 w 888966"/>
              <a:gd name="connsiteY13" fmla="*/ 662789 h 897080"/>
              <a:gd name="connsiteX14" fmla="*/ 249370 w 888966"/>
              <a:gd name="connsiteY14" fmla="*/ 662789 h 897080"/>
              <a:gd name="connsiteX15" fmla="*/ 495319 w 888966"/>
              <a:gd name="connsiteY15" fmla="*/ 587471 h 897080"/>
              <a:gd name="connsiteX16" fmla="*/ 501686 w 888966"/>
              <a:gd name="connsiteY16" fmla="*/ 616983 h 897080"/>
              <a:gd name="connsiteX17" fmla="*/ 741232 w 888966"/>
              <a:gd name="connsiteY17" fmla="*/ 616983 h 897080"/>
              <a:gd name="connsiteX18" fmla="*/ 741232 w 888966"/>
              <a:gd name="connsiteY18" fmla="*/ 587471 h 897080"/>
              <a:gd name="connsiteX19" fmla="*/ 495319 w 888966"/>
              <a:gd name="connsiteY19" fmla="*/ 587471 h 897080"/>
              <a:gd name="connsiteX20" fmla="*/ 249370 w 888966"/>
              <a:gd name="connsiteY20" fmla="*/ 587471 h 897080"/>
              <a:gd name="connsiteX21" fmla="*/ 249370 w 888966"/>
              <a:gd name="connsiteY21" fmla="*/ 616983 h 897080"/>
              <a:gd name="connsiteX22" fmla="*/ 323088 w 888966"/>
              <a:gd name="connsiteY22" fmla="*/ 616983 h 897080"/>
              <a:gd name="connsiteX23" fmla="*/ 296020 w 888966"/>
              <a:gd name="connsiteY23" fmla="*/ 587471 h 897080"/>
              <a:gd name="connsiteX24" fmla="*/ 249370 w 888966"/>
              <a:gd name="connsiteY24" fmla="*/ 587471 h 897080"/>
              <a:gd name="connsiteX25" fmla="*/ 456482 w 888966"/>
              <a:gd name="connsiteY25" fmla="*/ 544863 h 897080"/>
              <a:gd name="connsiteX26" fmla="*/ 373574 w 888966"/>
              <a:gd name="connsiteY26" fmla="*/ 620125 h 897080"/>
              <a:gd name="connsiteX27" fmla="*/ 495281 w 888966"/>
              <a:gd name="connsiteY27" fmla="*/ 670589 h 897080"/>
              <a:gd name="connsiteX28" fmla="*/ 456482 w 888966"/>
              <a:gd name="connsiteY28" fmla="*/ 544863 h 897080"/>
              <a:gd name="connsiteX29" fmla="*/ 249370 w 888966"/>
              <a:gd name="connsiteY29" fmla="*/ 536610 h 897080"/>
              <a:gd name="connsiteX30" fmla="*/ 249370 w 888966"/>
              <a:gd name="connsiteY30" fmla="*/ 541666 h 897080"/>
              <a:gd name="connsiteX31" fmla="*/ 254007 w 888966"/>
              <a:gd name="connsiteY31" fmla="*/ 541666 h 897080"/>
              <a:gd name="connsiteX32" fmla="*/ 249370 w 888966"/>
              <a:gd name="connsiteY32" fmla="*/ 536610 h 897080"/>
              <a:gd name="connsiteX33" fmla="*/ 465565 w 888966"/>
              <a:gd name="connsiteY33" fmla="*/ 512155 h 897080"/>
              <a:gd name="connsiteX34" fmla="*/ 466352 w 888966"/>
              <a:gd name="connsiteY34" fmla="*/ 513012 h 897080"/>
              <a:gd name="connsiteX35" fmla="*/ 470504 w 888966"/>
              <a:gd name="connsiteY35" fmla="*/ 541666 h 897080"/>
              <a:gd name="connsiteX36" fmla="*/ 741232 w 888966"/>
              <a:gd name="connsiteY36" fmla="*/ 541666 h 897080"/>
              <a:gd name="connsiteX37" fmla="*/ 741232 w 888966"/>
              <a:gd name="connsiteY37" fmla="*/ 512155 h 897080"/>
              <a:gd name="connsiteX38" fmla="*/ 465565 w 888966"/>
              <a:gd name="connsiteY38" fmla="*/ 512155 h 897080"/>
              <a:gd name="connsiteX39" fmla="*/ 396483 w 888966"/>
              <a:gd name="connsiteY39" fmla="*/ 436837 h 897080"/>
              <a:gd name="connsiteX40" fmla="*/ 423552 w 888966"/>
              <a:gd name="connsiteY40" fmla="*/ 466349 h 897080"/>
              <a:gd name="connsiteX41" fmla="*/ 741232 w 888966"/>
              <a:gd name="connsiteY41" fmla="*/ 466349 h 897080"/>
              <a:gd name="connsiteX42" fmla="*/ 741232 w 888966"/>
              <a:gd name="connsiteY42" fmla="*/ 436837 h 897080"/>
              <a:gd name="connsiteX43" fmla="*/ 396483 w 888966"/>
              <a:gd name="connsiteY43" fmla="*/ 436837 h 897080"/>
              <a:gd name="connsiteX44" fmla="*/ 327402 w 888966"/>
              <a:gd name="connsiteY44" fmla="*/ 361519 h 897080"/>
              <a:gd name="connsiteX45" fmla="*/ 354471 w 888966"/>
              <a:gd name="connsiteY45" fmla="*/ 391031 h 897080"/>
              <a:gd name="connsiteX46" fmla="*/ 741232 w 888966"/>
              <a:gd name="connsiteY46" fmla="*/ 391031 h 897080"/>
              <a:gd name="connsiteX47" fmla="*/ 741232 w 888966"/>
              <a:gd name="connsiteY47" fmla="*/ 361519 h 897080"/>
              <a:gd name="connsiteX48" fmla="*/ 327402 w 888966"/>
              <a:gd name="connsiteY48" fmla="*/ 361519 h 897080"/>
              <a:gd name="connsiteX49" fmla="*/ 197315 w 888966"/>
              <a:gd name="connsiteY49" fmla="*/ 261390 h 897080"/>
              <a:gd name="connsiteX50" fmla="*/ 180526 w 888966"/>
              <a:gd name="connsiteY50" fmla="*/ 266028 h 897080"/>
              <a:gd name="connsiteX51" fmla="*/ 115877 w 888966"/>
              <a:gd name="connsiteY51" fmla="*/ 325324 h 897080"/>
              <a:gd name="connsiteX52" fmla="*/ 118016 w 888966"/>
              <a:gd name="connsiteY52" fmla="*/ 360103 h 897080"/>
              <a:gd name="connsiteX53" fmla="*/ 339076 w 888966"/>
              <a:gd name="connsiteY53" fmla="*/ 601119 h 897080"/>
              <a:gd name="connsiteX54" fmla="*/ 373540 w 888966"/>
              <a:gd name="connsiteY54" fmla="*/ 606249 h 897080"/>
              <a:gd name="connsiteX55" fmla="*/ 438189 w 888966"/>
              <a:gd name="connsiteY55" fmla="*/ 546953 h 897080"/>
              <a:gd name="connsiteX56" fmla="*/ 436051 w 888966"/>
              <a:gd name="connsiteY56" fmla="*/ 512175 h 897080"/>
              <a:gd name="connsiteX57" fmla="*/ 214990 w 888966"/>
              <a:gd name="connsiteY57" fmla="*/ 271158 h 897080"/>
              <a:gd name="connsiteX58" fmla="*/ 197315 w 888966"/>
              <a:gd name="connsiteY58" fmla="*/ 261390 h 897080"/>
              <a:gd name="connsiteX59" fmla="*/ 249370 w 888966"/>
              <a:gd name="connsiteY59" fmla="*/ 243676 h 897080"/>
              <a:gd name="connsiteX60" fmla="*/ 249370 w 888966"/>
              <a:gd name="connsiteY60" fmla="*/ 276442 h 897080"/>
              <a:gd name="connsiteX61" fmla="*/ 255409 w 888966"/>
              <a:gd name="connsiteY61" fmla="*/ 283025 h 897080"/>
              <a:gd name="connsiteX62" fmla="*/ 544487 w 888966"/>
              <a:gd name="connsiteY62" fmla="*/ 283025 h 897080"/>
              <a:gd name="connsiteX63" fmla="*/ 544487 w 888966"/>
              <a:gd name="connsiteY63" fmla="*/ 243676 h 897080"/>
              <a:gd name="connsiteX64" fmla="*/ 249370 w 888966"/>
              <a:gd name="connsiteY64" fmla="*/ 243676 h 897080"/>
              <a:gd name="connsiteX65" fmla="*/ 581549 w 888966"/>
              <a:gd name="connsiteY65" fmla="*/ 92545 h 897080"/>
              <a:gd name="connsiteX66" fmla="*/ 581546 w 888966"/>
              <a:gd name="connsiteY66" fmla="*/ 246254 h 897080"/>
              <a:gd name="connsiteX67" fmla="*/ 624694 w 888966"/>
              <a:gd name="connsiteY67" fmla="*/ 294792 h 897080"/>
              <a:gd name="connsiteX68" fmla="*/ 786491 w 888966"/>
              <a:gd name="connsiteY68" fmla="*/ 297488 h 897080"/>
              <a:gd name="connsiteX69" fmla="*/ 581549 w 888966"/>
              <a:gd name="connsiteY69" fmla="*/ 92545 h 897080"/>
              <a:gd name="connsiteX70" fmla="*/ 643884 w 888966"/>
              <a:gd name="connsiteY70" fmla="*/ 72904 h 897080"/>
              <a:gd name="connsiteX71" fmla="*/ 709692 w 888966"/>
              <a:gd name="connsiteY71" fmla="*/ 72904 h 897080"/>
              <a:gd name="connsiteX72" fmla="*/ 888966 w 888966"/>
              <a:gd name="connsiteY72" fmla="*/ 254516 h 897080"/>
              <a:gd name="connsiteX73" fmla="*/ 888966 w 888966"/>
              <a:gd name="connsiteY73" fmla="*/ 826972 h 897080"/>
              <a:gd name="connsiteX74" fmla="*/ 840594 w 888966"/>
              <a:gd name="connsiteY74" fmla="*/ 879012 h 897080"/>
              <a:gd name="connsiteX75" fmla="*/ 816902 w 888966"/>
              <a:gd name="connsiteY75" fmla="*/ 879012 h 897080"/>
              <a:gd name="connsiteX76" fmla="*/ 837729 w 888966"/>
              <a:gd name="connsiteY76" fmla="*/ 836923 h 897080"/>
              <a:gd name="connsiteX77" fmla="*/ 837729 w 888966"/>
              <a:gd name="connsiteY77" fmla="*/ 266749 h 897080"/>
              <a:gd name="connsiteX78" fmla="*/ 643884 w 888966"/>
              <a:gd name="connsiteY78" fmla="*/ 72904 h 897080"/>
              <a:gd name="connsiteX79" fmla="*/ 273214 w 888966"/>
              <a:gd name="connsiteY79" fmla="*/ 0 h 897080"/>
              <a:gd name="connsiteX80" fmla="*/ 295444 w 888966"/>
              <a:gd name="connsiteY80" fmla="*/ 0 h 897080"/>
              <a:gd name="connsiteX81" fmla="*/ 301001 w 888966"/>
              <a:gd name="connsiteY81" fmla="*/ 5557 h 897080"/>
              <a:gd name="connsiteX82" fmla="*/ 301001 w 888966"/>
              <a:gd name="connsiteY82" fmla="*/ 44590 h 897080"/>
              <a:gd name="connsiteX83" fmla="*/ 330371 w 888966"/>
              <a:gd name="connsiteY83" fmla="*/ 44590 h 897080"/>
              <a:gd name="connsiteX84" fmla="*/ 330371 w 888966"/>
              <a:gd name="connsiteY84" fmla="*/ 5557 h 897080"/>
              <a:gd name="connsiteX85" fmla="*/ 335928 w 888966"/>
              <a:gd name="connsiteY85" fmla="*/ 0 h 897080"/>
              <a:gd name="connsiteX86" fmla="*/ 358158 w 888966"/>
              <a:gd name="connsiteY86" fmla="*/ 0 h 897080"/>
              <a:gd name="connsiteX87" fmla="*/ 363715 w 888966"/>
              <a:gd name="connsiteY87" fmla="*/ 5557 h 897080"/>
              <a:gd name="connsiteX88" fmla="*/ 363715 w 888966"/>
              <a:gd name="connsiteY88" fmla="*/ 44590 h 897080"/>
              <a:gd name="connsiteX89" fmla="*/ 393085 w 888966"/>
              <a:gd name="connsiteY89" fmla="*/ 44590 h 897080"/>
              <a:gd name="connsiteX90" fmla="*/ 393085 w 888966"/>
              <a:gd name="connsiteY90" fmla="*/ 5557 h 897080"/>
              <a:gd name="connsiteX91" fmla="*/ 398642 w 888966"/>
              <a:gd name="connsiteY91" fmla="*/ 0 h 897080"/>
              <a:gd name="connsiteX92" fmla="*/ 420872 w 888966"/>
              <a:gd name="connsiteY92" fmla="*/ 0 h 897080"/>
              <a:gd name="connsiteX93" fmla="*/ 426429 w 888966"/>
              <a:gd name="connsiteY93" fmla="*/ 5557 h 897080"/>
              <a:gd name="connsiteX94" fmla="*/ 426429 w 888966"/>
              <a:gd name="connsiteY94" fmla="*/ 44590 h 897080"/>
              <a:gd name="connsiteX95" fmla="*/ 455797 w 888966"/>
              <a:gd name="connsiteY95" fmla="*/ 44590 h 897080"/>
              <a:gd name="connsiteX96" fmla="*/ 455797 w 888966"/>
              <a:gd name="connsiteY96" fmla="*/ 5557 h 897080"/>
              <a:gd name="connsiteX97" fmla="*/ 461355 w 888966"/>
              <a:gd name="connsiteY97" fmla="*/ 0 h 897080"/>
              <a:gd name="connsiteX98" fmla="*/ 483584 w 888966"/>
              <a:gd name="connsiteY98" fmla="*/ 0 h 897080"/>
              <a:gd name="connsiteX99" fmla="*/ 489142 w 888966"/>
              <a:gd name="connsiteY99" fmla="*/ 5557 h 897080"/>
              <a:gd name="connsiteX100" fmla="*/ 489142 w 888966"/>
              <a:gd name="connsiteY100" fmla="*/ 44590 h 897080"/>
              <a:gd name="connsiteX101" fmla="*/ 595074 w 888966"/>
              <a:gd name="connsiteY101" fmla="*/ 44590 h 897080"/>
              <a:gd name="connsiteX102" fmla="*/ 822356 w 888966"/>
              <a:gd name="connsiteY102" fmla="*/ 271872 h 897080"/>
              <a:gd name="connsiteX103" fmla="*/ 822356 w 888966"/>
              <a:gd name="connsiteY103" fmla="*/ 842046 h 897080"/>
              <a:gd name="connsiteX104" fmla="*/ 767322 w 888966"/>
              <a:gd name="connsiteY104" fmla="*/ 897080 h 897080"/>
              <a:gd name="connsiteX105" fmla="*/ 228406 w 888966"/>
              <a:gd name="connsiteY105" fmla="*/ 897080 h 897080"/>
              <a:gd name="connsiteX106" fmla="*/ 173372 w 888966"/>
              <a:gd name="connsiteY106" fmla="*/ 842046 h 897080"/>
              <a:gd name="connsiteX107" fmla="*/ 173372 w 888966"/>
              <a:gd name="connsiteY107" fmla="*/ 453750 h 897080"/>
              <a:gd name="connsiteX108" fmla="*/ 97455 w 888966"/>
              <a:gd name="connsiteY108" fmla="*/ 370979 h 897080"/>
              <a:gd name="connsiteX109" fmla="*/ 99243 w 888966"/>
              <a:gd name="connsiteY109" fmla="*/ 329567 h 897080"/>
              <a:gd name="connsiteX110" fmla="*/ 173372 w 888966"/>
              <a:gd name="connsiteY110" fmla="*/ 261577 h 897080"/>
              <a:gd name="connsiteX111" fmla="*/ 173372 w 888966"/>
              <a:gd name="connsiteY111" fmla="*/ 229235 h 897080"/>
              <a:gd name="connsiteX112" fmla="*/ 170801 w 888966"/>
              <a:gd name="connsiteY112" fmla="*/ 231595 h 897080"/>
              <a:gd name="connsiteX113" fmla="*/ 170383 w 888966"/>
              <a:gd name="connsiteY113" fmla="*/ 224803 h 897080"/>
              <a:gd name="connsiteX114" fmla="*/ 129236 w 888966"/>
              <a:gd name="connsiteY114" fmla="*/ 179942 h 897080"/>
              <a:gd name="connsiteX115" fmla="*/ 109863 w 888966"/>
              <a:gd name="connsiteY115" fmla="*/ 177057 h 897080"/>
              <a:gd name="connsiteX116" fmla="*/ 31057 w 888966"/>
              <a:gd name="connsiteY116" fmla="*/ 249335 h 897080"/>
              <a:gd name="connsiteX117" fmla="*/ 32260 w 888966"/>
              <a:gd name="connsiteY117" fmla="*/ 268885 h 897080"/>
              <a:gd name="connsiteX118" fmla="*/ 73408 w 888966"/>
              <a:gd name="connsiteY118" fmla="*/ 313747 h 897080"/>
              <a:gd name="connsiteX119" fmla="*/ 80138 w 888966"/>
              <a:gd name="connsiteY119" fmla="*/ 314749 h 897080"/>
              <a:gd name="connsiteX120" fmla="*/ 72156 w 888966"/>
              <a:gd name="connsiteY120" fmla="*/ 322070 h 897080"/>
              <a:gd name="connsiteX121" fmla="*/ 48877 w 888966"/>
              <a:gd name="connsiteY121" fmla="*/ 321065 h 897080"/>
              <a:gd name="connsiteX122" fmla="*/ 4335 w 888966"/>
              <a:gd name="connsiteY122" fmla="*/ 272501 h 897080"/>
              <a:gd name="connsiteX123" fmla="*/ 5341 w 888966"/>
              <a:gd name="connsiteY123" fmla="*/ 249222 h 897080"/>
              <a:gd name="connsiteX124" fmla="*/ 110656 w 888966"/>
              <a:gd name="connsiteY124" fmla="*/ 152628 h 897080"/>
              <a:gd name="connsiteX125" fmla="*/ 133935 w 888966"/>
              <a:gd name="connsiteY125" fmla="*/ 153633 h 897080"/>
              <a:gd name="connsiteX126" fmla="*/ 173372 w 888966"/>
              <a:gd name="connsiteY126" fmla="*/ 196630 h 897080"/>
              <a:gd name="connsiteX127" fmla="*/ 173372 w 888966"/>
              <a:gd name="connsiteY127" fmla="*/ 99625 h 897080"/>
              <a:gd name="connsiteX128" fmla="*/ 228406 w 888966"/>
              <a:gd name="connsiteY128" fmla="*/ 44590 h 897080"/>
              <a:gd name="connsiteX129" fmla="*/ 267657 w 888966"/>
              <a:gd name="connsiteY129" fmla="*/ 44590 h 897080"/>
              <a:gd name="connsiteX130" fmla="*/ 267657 w 888966"/>
              <a:gd name="connsiteY130" fmla="*/ 5557 h 897080"/>
              <a:gd name="connsiteX131" fmla="*/ 273214 w 888966"/>
              <a:gd name="connsiteY131" fmla="*/ 0 h 897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888966" h="897080">
                <a:moveTo>
                  <a:pt x="249370" y="738104"/>
                </a:moveTo>
                <a:lnTo>
                  <a:pt x="249370" y="767616"/>
                </a:lnTo>
                <a:lnTo>
                  <a:pt x="741232" y="767616"/>
                </a:lnTo>
                <a:lnTo>
                  <a:pt x="741232" y="738104"/>
                </a:lnTo>
                <a:lnTo>
                  <a:pt x="249370" y="738104"/>
                </a:lnTo>
                <a:close/>
                <a:moveTo>
                  <a:pt x="511567" y="662789"/>
                </a:moveTo>
                <a:lnTo>
                  <a:pt x="517934" y="692301"/>
                </a:lnTo>
                <a:lnTo>
                  <a:pt x="741232" y="692301"/>
                </a:lnTo>
                <a:lnTo>
                  <a:pt x="741232" y="662789"/>
                </a:lnTo>
                <a:lnTo>
                  <a:pt x="511567" y="662789"/>
                </a:lnTo>
                <a:close/>
                <a:moveTo>
                  <a:pt x="249370" y="662789"/>
                </a:moveTo>
                <a:lnTo>
                  <a:pt x="249370" y="692301"/>
                </a:lnTo>
                <a:lnTo>
                  <a:pt x="508884" y="692301"/>
                </a:lnTo>
                <a:lnTo>
                  <a:pt x="415842" y="662789"/>
                </a:lnTo>
                <a:lnTo>
                  <a:pt x="249370" y="662789"/>
                </a:lnTo>
                <a:close/>
                <a:moveTo>
                  <a:pt x="495319" y="587471"/>
                </a:moveTo>
                <a:lnTo>
                  <a:pt x="501686" y="616983"/>
                </a:lnTo>
                <a:lnTo>
                  <a:pt x="741232" y="616983"/>
                </a:lnTo>
                <a:lnTo>
                  <a:pt x="741232" y="587471"/>
                </a:lnTo>
                <a:lnTo>
                  <a:pt x="495319" y="587471"/>
                </a:lnTo>
                <a:close/>
                <a:moveTo>
                  <a:pt x="249370" y="587471"/>
                </a:moveTo>
                <a:lnTo>
                  <a:pt x="249370" y="616983"/>
                </a:lnTo>
                <a:lnTo>
                  <a:pt x="323088" y="616983"/>
                </a:lnTo>
                <a:lnTo>
                  <a:pt x="296020" y="587471"/>
                </a:lnTo>
                <a:lnTo>
                  <a:pt x="249370" y="587471"/>
                </a:lnTo>
                <a:close/>
                <a:moveTo>
                  <a:pt x="456482" y="544863"/>
                </a:moveTo>
                <a:lnTo>
                  <a:pt x="373574" y="620125"/>
                </a:lnTo>
                <a:lnTo>
                  <a:pt x="495281" y="670589"/>
                </a:lnTo>
                <a:lnTo>
                  <a:pt x="456482" y="544863"/>
                </a:lnTo>
                <a:close/>
                <a:moveTo>
                  <a:pt x="249370" y="536610"/>
                </a:moveTo>
                <a:lnTo>
                  <a:pt x="249370" y="541666"/>
                </a:lnTo>
                <a:lnTo>
                  <a:pt x="254007" y="541666"/>
                </a:lnTo>
                <a:lnTo>
                  <a:pt x="249370" y="536610"/>
                </a:lnTo>
                <a:close/>
                <a:moveTo>
                  <a:pt x="465565" y="512155"/>
                </a:moveTo>
                <a:lnTo>
                  <a:pt x="466352" y="513012"/>
                </a:lnTo>
                <a:cubicBezTo>
                  <a:pt x="473866" y="521204"/>
                  <a:pt x="475841" y="532516"/>
                  <a:pt x="470504" y="541666"/>
                </a:cubicBezTo>
                <a:lnTo>
                  <a:pt x="741232" y="541666"/>
                </a:lnTo>
                <a:lnTo>
                  <a:pt x="741232" y="512155"/>
                </a:lnTo>
                <a:lnTo>
                  <a:pt x="465565" y="512155"/>
                </a:lnTo>
                <a:close/>
                <a:moveTo>
                  <a:pt x="396483" y="436837"/>
                </a:moveTo>
                <a:lnTo>
                  <a:pt x="423552" y="466349"/>
                </a:lnTo>
                <a:lnTo>
                  <a:pt x="741232" y="466349"/>
                </a:lnTo>
                <a:lnTo>
                  <a:pt x="741232" y="436837"/>
                </a:lnTo>
                <a:lnTo>
                  <a:pt x="396483" y="436837"/>
                </a:lnTo>
                <a:close/>
                <a:moveTo>
                  <a:pt x="327402" y="361519"/>
                </a:moveTo>
                <a:lnTo>
                  <a:pt x="354471" y="391031"/>
                </a:lnTo>
                <a:lnTo>
                  <a:pt x="741232" y="391031"/>
                </a:lnTo>
                <a:lnTo>
                  <a:pt x="741232" y="361519"/>
                </a:lnTo>
                <a:lnTo>
                  <a:pt x="327402" y="361519"/>
                </a:lnTo>
                <a:close/>
                <a:moveTo>
                  <a:pt x="197315" y="261390"/>
                </a:moveTo>
                <a:cubicBezTo>
                  <a:pt x="191078" y="260462"/>
                  <a:pt x="184990" y="261934"/>
                  <a:pt x="180526" y="266028"/>
                </a:cubicBezTo>
                <a:lnTo>
                  <a:pt x="115877" y="325324"/>
                </a:lnTo>
                <a:cubicBezTo>
                  <a:pt x="106950" y="333512"/>
                  <a:pt x="107908" y="349083"/>
                  <a:pt x="118016" y="360103"/>
                </a:cubicBezTo>
                <a:lnTo>
                  <a:pt x="339076" y="601119"/>
                </a:lnTo>
                <a:cubicBezTo>
                  <a:pt x="349185" y="612140"/>
                  <a:pt x="364614" y="614437"/>
                  <a:pt x="373540" y="606249"/>
                </a:cubicBezTo>
                <a:lnTo>
                  <a:pt x="438189" y="546953"/>
                </a:lnTo>
                <a:cubicBezTo>
                  <a:pt x="447116" y="538766"/>
                  <a:pt x="446158" y="523195"/>
                  <a:pt x="436051" y="512175"/>
                </a:cubicBezTo>
                <a:lnTo>
                  <a:pt x="214990" y="271158"/>
                </a:lnTo>
                <a:cubicBezTo>
                  <a:pt x="209936" y="265648"/>
                  <a:pt x="203552" y="262320"/>
                  <a:pt x="197315" y="261390"/>
                </a:cubicBezTo>
                <a:close/>
                <a:moveTo>
                  <a:pt x="249370" y="243676"/>
                </a:moveTo>
                <a:lnTo>
                  <a:pt x="249370" y="276442"/>
                </a:lnTo>
                <a:lnTo>
                  <a:pt x="255409" y="283025"/>
                </a:lnTo>
                <a:lnTo>
                  <a:pt x="544487" y="283025"/>
                </a:lnTo>
                <a:lnTo>
                  <a:pt x="544487" y="243676"/>
                </a:lnTo>
                <a:lnTo>
                  <a:pt x="249370" y="243676"/>
                </a:lnTo>
                <a:close/>
                <a:moveTo>
                  <a:pt x="581549" y="92545"/>
                </a:moveTo>
                <a:cubicBezTo>
                  <a:pt x="581549" y="143782"/>
                  <a:pt x="581546" y="195017"/>
                  <a:pt x="581546" y="246254"/>
                </a:cubicBezTo>
                <a:cubicBezTo>
                  <a:pt x="580561" y="275242"/>
                  <a:pt x="607752" y="291422"/>
                  <a:pt x="624694" y="294792"/>
                </a:cubicBezTo>
                <a:lnTo>
                  <a:pt x="786491" y="297488"/>
                </a:lnTo>
                <a:lnTo>
                  <a:pt x="581549" y="92545"/>
                </a:lnTo>
                <a:close/>
                <a:moveTo>
                  <a:pt x="643884" y="72904"/>
                </a:moveTo>
                <a:lnTo>
                  <a:pt x="709692" y="72904"/>
                </a:lnTo>
                <a:lnTo>
                  <a:pt x="888966" y="254516"/>
                </a:lnTo>
                <a:lnTo>
                  <a:pt x="888966" y="826972"/>
                </a:lnTo>
                <a:cubicBezTo>
                  <a:pt x="888966" y="855713"/>
                  <a:pt x="867310" y="879012"/>
                  <a:pt x="840594" y="879012"/>
                </a:cubicBezTo>
                <a:lnTo>
                  <a:pt x="816902" y="879012"/>
                </a:lnTo>
                <a:cubicBezTo>
                  <a:pt x="829807" y="869541"/>
                  <a:pt x="837729" y="854157"/>
                  <a:pt x="837729" y="836923"/>
                </a:cubicBezTo>
                <a:lnTo>
                  <a:pt x="837729" y="266749"/>
                </a:lnTo>
                <a:lnTo>
                  <a:pt x="643884" y="72904"/>
                </a:lnTo>
                <a:close/>
                <a:moveTo>
                  <a:pt x="273214" y="0"/>
                </a:moveTo>
                <a:lnTo>
                  <a:pt x="295444" y="0"/>
                </a:lnTo>
                <a:cubicBezTo>
                  <a:pt x="298513" y="0"/>
                  <a:pt x="301001" y="2488"/>
                  <a:pt x="301001" y="5557"/>
                </a:cubicBezTo>
                <a:lnTo>
                  <a:pt x="301001" y="44590"/>
                </a:lnTo>
                <a:lnTo>
                  <a:pt x="330371" y="44590"/>
                </a:lnTo>
                <a:lnTo>
                  <a:pt x="330371" y="5557"/>
                </a:lnTo>
                <a:lnTo>
                  <a:pt x="335928" y="0"/>
                </a:lnTo>
                <a:lnTo>
                  <a:pt x="358158" y="0"/>
                </a:lnTo>
                <a:cubicBezTo>
                  <a:pt x="361227" y="0"/>
                  <a:pt x="363715" y="2488"/>
                  <a:pt x="363715" y="5557"/>
                </a:cubicBezTo>
                <a:lnTo>
                  <a:pt x="363715" y="44590"/>
                </a:lnTo>
                <a:lnTo>
                  <a:pt x="393085" y="44590"/>
                </a:lnTo>
                <a:lnTo>
                  <a:pt x="393085" y="5557"/>
                </a:lnTo>
                <a:lnTo>
                  <a:pt x="398642" y="0"/>
                </a:lnTo>
                <a:lnTo>
                  <a:pt x="420872" y="0"/>
                </a:lnTo>
                <a:cubicBezTo>
                  <a:pt x="423941" y="0"/>
                  <a:pt x="426429" y="2488"/>
                  <a:pt x="426429" y="5557"/>
                </a:cubicBezTo>
                <a:lnTo>
                  <a:pt x="426429" y="44590"/>
                </a:lnTo>
                <a:lnTo>
                  <a:pt x="455797" y="44590"/>
                </a:lnTo>
                <a:lnTo>
                  <a:pt x="455797" y="5557"/>
                </a:lnTo>
                <a:lnTo>
                  <a:pt x="461355" y="0"/>
                </a:lnTo>
                <a:lnTo>
                  <a:pt x="483584" y="0"/>
                </a:lnTo>
                <a:cubicBezTo>
                  <a:pt x="486654" y="0"/>
                  <a:pt x="489142" y="2488"/>
                  <a:pt x="489142" y="5557"/>
                </a:cubicBezTo>
                <a:lnTo>
                  <a:pt x="489142" y="44590"/>
                </a:lnTo>
                <a:lnTo>
                  <a:pt x="595074" y="44590"/>
                </a:lnTo>
                <a:lnTo>
                  <a:pt x="822356" y="271872"/>
                </a:lnTo>
                <a:lnTo>
                  <a:pt x="822356" y="842046"/>
                </a:lnTo>
                <a:cubicBezTo>
                  <a:pt x="822356" y="872441"/>
                  <a:pt x="797716" y="897080"/>
                  <a:pt x="767322" y="897080"/>
                </a:cubicBezTo>
                <a:lnTo>
                  <a:pt x="228406" y="897080"/>
                </a:lnTo>
                <a:cubicBezTo>
                  <a:pt x="198010" y="897080"/>
                  <a:pt x="173372" y="872441"/>
                  <a:pt x="173372" y="842046"/>
                </a:cubicBezTo>
                <a:lnTo>
                  <a:pt x="173372" y="453750"/>
                </a:lnTo>
                <a:lnTo>
                  <a:pt x="97455" y="370979"/>
                </a:lnTo>
                <a:cubicBezTo>
                  <a:pt x="86512" y="359050"/>
                  <a:pt x="87313" y="340510"/>
                  <a:pt x="99243" y="329567"/>
                </a:cubicBezTo>
                <a:lnTo>
                  <a:pt x="173372" y="261577"/>
                </a:lnTo>
                <a:lnTo>
                  <a:pt x="173372" y="229235"/>
                </a:lnTo>
                <a:lnTo>
                  <a:pt x="170801" y="231595"/>
                </a:lnTo>
                <a:cubicBezTo>
                  <a:pt x="170662" y="229331"/>
                  <a:pt x="170522" y="227067"/>
                  <a:pt x="170383" y="224803"/>
                </a:cubicBezTo>
                <a:lnTo>
                  <a:pt x="129236" y="179942"/>
                </a:lnTo>
                <a:cubicBezTo>
                  <a:pt x="123552" y="173745"/>
                  <a:pt x="114879" y="172454"/>
                  <a:pt x="109863" y="177057"/>
                </a:cubicBezTo>
                <a:lnTo>
                  <a:pt x="31057" y="249335"/>
                </a:lnTo>
                <a:cubicBezTo>
                  <a:pt x="26040" y="253937"/>
                  <a:pt x="26578" y="262690"/>
                  <a:pt x="32260" y="268885"/>
                </a:cubicBezTo>
                <a:lnTo>
                  <a:pt x="73408" y="313747"/>
                </a:lnTo>
                <a:cubicBezTo>
                  <a:pt x="74973" y="315454"/>
                  <a:pt x="76765" y="316789"/>
                  <a:pt x="80138" y="314749"/>
                </a:cubicBezTo>
                <a:lnTo>
                  <a:pt x="72156" y="322070"/>
                </a:lnTo>
                <a:cubicBezTo>
                  <a:pt x="65450" y="328221"/>
                  <a:pt x="55029" y="327771"/>
                  <a:pt x="48877" y="321065"/>
                </a:cubicBezTo>
                <a:lnTo>
                  <a:pt x="4335" y="272501"/>
                </a:lnTo>
                <a:cubicBezTo>
                  <a:pt x="-1816" y="265795"/>
                  <a:pt x="-1366" y="255373"/>
                  <a:pt x="5341" y="249222"/>
                </a:cubicBezTo>
                <a:lnTo>
                  <a:pt x="110656" y="152628"/>
                </a:lnTo>
                <a:cubicBezTo>
                  <a:pt x="117361" y="146476"/>
                  <a:pt x="127783" y="146927"/>
                  <a:pt x="133935" y="153633"/>
                </a:cubicBezTo>
                <a:lnTo>
                  <a:pt x="173372" y="196630"/>
                </a:lnTo>
                <a:lnTo>
                  <a:pt x="173372" y="99625"/>
                </a:lnTo>
                <a:cubicBezTo>
                  <a:pt x="173372" y="69230"/>
                  <a:pt x="198010" y="44590"/>
                  <a:pt x="228406" y="44590"/>
                </a:cubicBezTo>
                <a:lnTo>
                  <a:pt x="267657" y="44590"/>
                </a:lnTo>
                <a:lnTo>
                  <a:pt x="267657" y="5557"/>
                </a:lnTo>
                <a:cubicBezTo>
                  <a:pt x="267657" y="2488"/>
                  <a:pt x="270145" y="0"/>
                  <a:pt x="273214" y="0"/>
                </a:cubicBezTo>
                <a:close/>
              </a:path>
            </a:pathLst>
          </a:cu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9952" tIns="34976" rIns="69952" bIns="34976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1686" y="3472610"/>
            <a:ext cx="1203919" cy="720197"/>
          </a:xfrm>
          <a:prstGeom prst="rect">
            <a:avLst/>
          </a:prstGeom>
          <a:noFill/>
        </p:spPr>
        <p:txBody>
          <a:bodyPr wrap="none" lIns="137160" tIns="109728" rIns="137160" bIns="109728" rtlCol="0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emporal </a:t>
            </a:r>
            <a:b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ries</a:t>
            </a:r>
          </a:p>
        </p:txBody>
      </p:sp>
    </p:spTree>
    <p:extLst>
      <p:ext uri="{BB962C8B-B14F-4D97-AF65-F5344CB8AC3E}">
        <p14:creationId xmlns:p14="http://schemas.microsoft.com/office/powerpoint/2010/main" val="113636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3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" dur="2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22" presetClass="entr" presetSubtype="8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000"/>
                            </p:stCondLst>
                            <p:childTnLst>
                              <p:par>
                                <p:cTn id="22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2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4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ntr" presetSubtype="16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5" dur="2000" fill="hold"/>
                                        <p:tgtEl>
                                          <p:spTgt spid="31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500"/>
                            </p:stCondLst>
                            <p:childTnLst>
                              <p:par>
                                <p:cTn id="57" presetID="22" presetClass="entr" presetSubtype="8" fill="hold" grpId="3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000"/>
                            </p:stCondLst>
                            <p:childTnLst>
                              <p:par>
                                <p:cTn id="64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9" dur="2000" fill="hold"/>
                                        <p:tgtEl>
                                          <p:spTgt spid="3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5" grpId="1" animBg="1"/>
      <p:bldP spid="26" grpId="0" animBg="1"/>
      <p:bldP spid="26" grpId="1" animBg="1"/>
      <p:bldP spid="26" grpId="2" animBg="1"/>
      <p:bldP spid="26" grpId="3" animBg="1"/>
      <p:bldP spid="26" grpId="4" animBg="1"/>
      <p:bldP spid="27" grpId="0" animBg="1"/>
      <p:bldP spid="30" grpId="0" animBg="1"/>
      <p:bldP spid="30" grpId="1" animBg="1"/>
      <p:bldP spid="32" grpId="0" animBg="1"/>
      <p:bldP spid="32" grpId="1" animBg="1"/>
      <p:bldP spid="33" grpId="0" animBg="1"/>
      <p:bldP spid="34" grpId="0" animBg="1"/>
      <p:bldP spid="35" grpId="0" animBg="1"/>
      <p:bldP spid="3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D5A7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891" y="1403229"/>
            <a:ext cx="5498497" cy="407666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6605" y="3137526"/>
            <a:ext cx="1561592" cy="30403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678278" y="3526972"/>
            <a:ext cx="239687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l-PL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pl-PL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4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rocław</a:t>
            </a:r>
            <a:r>
              <a:rPr lang="pl-PL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.06</a:t>
            </a:r>
            <a:r>
              <a:rPr lang="pl-PL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2016</a:t>
            </a:r>
          </a:p>
          <a:p>
            <a:endParaRPr lang="pl-PL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987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amian Widera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2852936"/>
            <a:ext cx="8196016" cy="387292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449" y="294232"/>
            <a:ext cx="648241" cy="995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0065" y="294232"/>
            <a:ext cx="1371600" cy="13716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81028" y="1289511"/>
            <a:ext cx="530587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5"/>
              </a:rPr>
              <a:t>damian.widera@euvic.pl</a:t>
            </a:r>
            <a:endParaRPr kumimoji="0" lang="pl-PL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@</a:t>
            </a: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amian.Widera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6"/>
              </a:rPr>
              <a:t>http://sqlblog.com/blogs/damian_widera/default.aspx</a:t>
            </a:r>
            <a:endParaRPr kumimoji="0" lang="pl-P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407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ZŁONKOWIE GRUPY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327545" y="1428367"/>
            <a:ext cx="8456620" cy="4284884"/>
            <a:chOff x="1605857" y="2082019"/>
            <a:chExt cx="6025571" cy="3053096"/>
          </a:xfrm>
        </p:grpSpPr>
        <p:cxnSp>
          <p:nvCxnSpPr>
            <p:cNvPr id="35" name="Łącznik prosty 34"/>
            <p:cNvCxnSpPr/>
            <p:nvPr/>
          </p:nvCxnSpPr>
          <p:spPr>
            <a:xfrm>
              <a:off x="3655545" y="3008246"/>
              <a:ext cx="178397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Łącznik prosty 35"/>
            <p:cNvCxnSpPr/>
            <p:nvPr/>
          </p:nvCxnSpPr>
          <p:spPr>
            <a:xfrm>
              <a:off x="5847455" y="3008246"/>
              <a:ext cx="178397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Łącznik prosty 37"/>
            <p:cNvCxnSpPr/>
            <p:nvPr/>
          </p:nvCxnSpPr>
          <p:spPr>
            <a:xfrm>
              <a:off x="3655545" y="4142575"/>
              <a:ext cx="178397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Łącznik prosty 38"/>
            <p:cNvCxnSpPr/>
            <p:nvPr/>
          </p:nvCxnSpPr>
          <p:spPr>
            <a:xfrm>
              <a:off x="5847455" y="4142575"/>
              <a:ext cx="178397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2" name="Łącznik prosty 41"/>
            <p:cNvCxnSpPr/>
            <p:nvPr/>
          </p:nvCxnSpPr>
          <p:spPr>
            <a:xfrm>
              <a:off x="3382271" y="2082020"/>
              <a:ext cx="0" cy="68668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Łącznik prosty 42"/>
            <p:cNvCxnSpPr/>
            <p:nvPr/>
          </p:nvCxnSpPr>
          <p:spPr>
            <a:xfrm>
              <a:off x="3382271" y="3254662"/>
              <a:ext cx="0" cy="68668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Łącznik prosty 43"/>
            <p:cNvCxnSpPr/>
            <p:nvPr/>
          </p:nvCxnSpPr>
          <p:spPr>
            <a:xfrm>
              <a:off x="3382271" y="4448433"/>
              <a:ext cx="0" cy="68668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Łącznik prosty 45"/>
            <p:cNvCxnSpPr/>
            <p:nvPr/>
          </p:nvCxnSpPr>
          <p:spPr>
            <a:xfrm>
              <a:off x="5621912" y="2082019"/>
              <a:ext cx="0" cy="68668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Łącznik prosty 46"/>
            <p:cNvCxnSpPr/>
            <p:nvPr/>
          </p:nvCxnSpPr>
          <p:spPr>
            <a:xfrm>
              <a:off x="5621912" y="3254661"/>
              <a:ext cx="0" cy="68668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Łącznik prosty 47"/>
            <p:cNvCxnSpPr/>
            <p:nvPr/>
          </p:nvCxnSpPr>
          <p:spPr>
            <a:xfrm>
              <a:off x="5621912" y="4448432"/>
              <a:ext cx="0" cy="68668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Łącznik prosty 55"/>
            <p:cNvCxnSpPr/>
            <p:nvPr/>
          </p:nvCxnSpPr>
          <p:spPr>
            <a:xfrm>
              <a:off x="1605857" y="3008246"/>
              <a:ext cx="145252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Łącznik prosty 56"/>
            <p:cNvCxnSpPr/>
            <p:nvPr/>
          </p:nvCxnSpPr>
          <p:spPr>
            <a:xfrm>
              <a:off x="1629721" y="4142575"/>
              <a:ext cx="145252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44462" y="2452935"/>
              <a:ext cx="1075996" cy="209681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57680" y="3508312"/>
              <a:ext cx="1933099" cy="134198"/>
            </a:xfrm>
            <a:prstGeom prst="rect">
              <a:avLst/>
            </a:prstGeom>
          </p:spPr>
        </p:pic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2003825"/>
            <a:ext cx="2395766" cy="25555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959" y="5023384"/>
            <a:ext cx="1883237" cy="27009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8038" y="5022728"/>
            <a:ext cx="2528528" cy="22094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186" y="3329878"/>
            <a:ext cx="1498251" cy="24771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441" y="5043446"/>
            <a:ext cx="2615817" cy="21297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5526" y="3385919"/>
            <a:ext cx="2495392" cy="26005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651" y="1974393"/>
            <a:ext cx="1423851" cy="26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8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478728" y="1624264"/>
            <a:ext cx="8189022" cy="4199020"/>
            <a:chOff x="924354" y="1817549"/>
            <a:chExt cx="7318894" cy="3752851"/>
          </a:xfrm>
        </p:grpSpPr>
        <p:cxnSp>
          <p:nvCxnSpPr>
            <p:cNvPr id="19" name="Łącznik prosty 18"/>
            <p:cNvCxnSpPr/>
            <p:nvPr/>
          </p:nvCxnSpPr>
          <p:spPr>
            <a:xfrm>
              <a:off x="2772389" y="2652652"/>
              <a:ext cx="160846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Łącznik prosty 19"/>
            <p:cNvCxnSpPr/>
            <p:nvPr/>
          </p:nvCxnSpPr>
          <p:spPr>
            <a:xfrm>
              <a:off x="4748655" y="2652652"/>
              <a:ext cx="160846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Łącznik prosty 20"/>
            <p:cNvCxnSpPr/>
            <p:nvPr/>
          </p:nvCxnSpPr>
          <p:spPr>
            <a:xfrm>
              <a:off x="6731691" y="2652652"/>
              <a:ext cx="130962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Łącznik prosty 21"/>
            <p:cNvCxnSpPr/>
            <p:nvPr/>
          </p:nvCxnSpPr>
          <p:spPr>
            <a:xfrm>
              <a:off x="2772389" y="3675383"/>
              <a:ext cx="160846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Łącznik prosty 22"/>
            <p:cNvCxnSpPr/>
            <p:nvPr/>
          </p:nvCxnSpPr>
          <p:spPr>
            <a:xfrm>
              <a:off x="4748655" y="3675383"/>
              <a:ext cx="160846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Łącznik prosty 23"/>
            <p:cNvCxnSpPr/>
            <p:nvPr/>
          </p:nvCxnSpPr>
          <p:spPr>
            <a:xfrm>
              <a:off x="2772388" y="4775234"/>
              <a:ext cx="160846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Łącznik prosty 24"/>
            <p:cNvCxnSpPr/>
            <p:nvPr/>
          </p:nvCxnSpPr>
          <p:spPr>
            <a:xfrm>
              <a:off x="4748654" y="4775234"/>
              <a:ext cx="160846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Łącznik prosty 25"/>
            <p:cNvCxnSpPr/>
            <p:nvPr/>
          </p:nvCxnSpPr>
          <p:spPr>
            <a:xfrm>
              <a:off x="2526001" y="1817550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Łącznik prosty 26"/>
            <p:cNvCxnSpPr/>
            <p:nvPr/>
          </p:nvCxnSpPr>
          <p:spPr>
            <a:xfrm>
              <a:off x="2526001" y="2874825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Łącznik prosty 27"/>
            <p:cNvCxnSpPr/>
            <p:nvPr/>
          </p:nvCxnSpPr>
          <p:spPr>
            <a:xfrm>
              <a:off x="2526001" y="3951150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Łącznik prosty 28"/>
            <p:cNvCxnSpPr/>
            <p:nvPr/>
          </p:nvCxnSpPr>
          <p:spPr>
            <a:xfrm>
              <a:off x="2535526" y="4951275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Łącznik prosty 29"/>
            <p:cNvCxnSpPr/>
            <p:nvPr/>
          </p:nvCxnSpPr>
          <p:spPr>
            <a:xfrm>
              <a:off x="4545301" y="1817549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Łącznik prosty 30"/>
            <p:cNvCxnSpPr/>
            <p:nvPr/>
          </p:nvCxnSpPr>
          <p:spPr>
            <a:xfrm>
              <a:off x="4545301" y="2874824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Łącznik prosty 31"/>
            <p:cNvCxnSpPr/>
            <p:nvPr/>
          </p:nvCxnSpPr>
          <p:spPr>
            <a:xfrm>
              <a:off x="4545301" y="3951149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Łącznik prosty 32"/>
            <p:cNvCxnSpPr/>
            <p:nvPr/>
          </p:nvCxnSpPr>
          <p:spPr>
            <a:xfrm>
              <a:off x="4554826" y="4951274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Łącznik prosty 33"/>
            <p:cNvCxnSpPr/>
            <p:nvPr/>
          </p:nvCxnSpPr>
          <p:spPr>
            <a:xfrm>
              <a:off x="6545551" y="1817549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Łącznik prosty 34"/>
            <p:cNvCxnSpPr/>
            <p:nvPr/>
          </p:nvCxnSpPr>
          <p:spPr>
            <a:xfrm>
              <a:off x="6545551" y="2874824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Łącznik prosty 35"/>
            <p:cNvCxnSpPr/>
            <p:nvPr/>
          </p:nvCxnSpPr>
          <p:spPr>
            <a:xfrm>
              <a:off x="6545551" y="3951149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Łącznik prosty 36"/>
            <p:cNvCxnSpPr/>
            <p:nvPr/>
          </p:nvCxnSpPr>
          <p:spPr>
            <a:xfrm>
              <a:off x="6555076" y="4951274"/>
              <a:ext cx="0" cy="6191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Łącznik prosty 37"/>
            <p:cNvCxnSpPr/>
            <p:nvPr/>
          </p:nvCxnSpPr>
          <p:spPr>
            <a:xfrm>
              <a:off x="6753207" y="3675383"/>
              <a:ext cx="130962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Łącznik prosty 38"/>
            <p:cNvCxnSpPr/>
            <p:nvPr/>
          </p:nvCxnSpPr>
          <p:spPr>
            <a:xfrm>
              <a:off x="6753207" y="4768214"/>
              <a:ext cx="130962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" name="Łącznik prosty 39"/>
            <p:cNvCxnSpPr/>
            <p:nvPr/>
          </p:nvCxnSpPr>
          <p:spPr>
            <a:xfrm>
              <a:off x="924354" y="2652652"/>
              <a:ext cx="130962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Łącznik prosty 40"/>
            <p:cNvCxnSpPr/>
            <p:nvPr/>
          </p:nvCxnSpPr>
          <p:spPr>
            <a:xfrm>
              <a:off x="945870" y="3675383"/>
              <a:ext cx="130962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2" name="Łącznik prosty 41"/>
            <p:cNvCxnSpPr/>
            <p:nvPr/>
          </p:nvCxnSpPr>
          <p:spPr>
            <a:xfrm>
              <a:off x="945870" y="4768214"/>
              <a:ext cx="130962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62" name="Obraz 6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9752" y="1938996"/>
              <a:ext cx="1463496" cy="489357"/>
            </a:xfrm>
            <a:prstGeom prst="rect">
              <a:avLst/>
            </a:prstGeom>
          </p:spPr>
        </p:pic>
        <p:pic>
          <p:nvPicPr>
            <p:cNvPr id="68" name="Obraz 6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8919" y="3868913"/>
              <a:ext cx="940413" cy="664402"/>
            </a:xfrm>
            <a:prstGeom prst="rect">
              <a:avLst/>
            </a:prstGeom>
          </p:spPr>
        </p:pic>
        <p:pic>
          <p:nvPicPr>
            <p:cNvPr id="69" name="Obraz 6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6464" y="3653951"/>
              <a:ext cx="1091279" cy="1094327"/>
            </a:xfrm>
            <a:prstGeom prst="rect">
              <a:avLst/>
            </a:prstGeom>
          </p:spPr>
        </p:pic>
        <p:pic>
          <p:nvPicPr>
            <p:cNvPr id="70" name="Obraz 6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28100" y="3916128"/>
              <a:ext cx="1166801" cy="569972"/>
            </a:xfrm>
            <a:prstGeom prst="rect">
              <a:avLst/>
            </a:prstGeom>
          </p:spPr>
        </p:pic>
        <p:pic>
          <p:nvPicPr>
            <p:cNvPr id="72" name="Obraz 7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6389" y="5014633"/>
              <a:ext cx="1105473" cy="364806"/>
            </a:xfrm>
            <a:prstGeom prst="rect">
              <a:avLst/>
            </a:prstGeom>
          </p:spPr>
        </p:pic>
        <p:pic>
          <p:nvPicPr>
            <p:cNvPr id="73" name="Obraz 7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3085" y="5062584"/>
              <a:ext cx="1258037" cy="268905"/>
            </a:xfrm>
            <a:prstGeom prst="rect">
              <a:avLst/>
            </a:prstGeom>
          </p:spPr>
        </p:pic>
        <p:pic>
          <p:nvPicPr>
            <p:cNvPr id="74" name="Obraz 7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47092" y="5095373"/>
              <a:ext cx="1328817" cy="203326"/>
            </a:xfrm>
            <a:prstGeom prst="rect">
              <a:avLst/>
            </a:prstGeom>
          </p:spPr>
        </p:pic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BRANI KLIENCI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686" y="3039528"/>
            <a:ext cx="1979621" cy="28698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65" y="3553020"/>
            <a:ext cx="1579157" cy="15791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4928" y="1625935"/>
            <a:ext cx="711098" cy="71109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9512" y="2651057"/>
            <a:ext cx="1005090" cy="100509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06887" y="2568174"/>
            <a:ext cx="1101295" cy="110129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47475" y="5123239"/>
            <a:ext cx="941535" cy="54115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3803" y="1734429"/>
            <a:ext cx="1170799" cy="55918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347526" y="1711507"/>
            <a:ext cx="667870" cy="66787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328253" y="2792173"/>
            <a:ext cx="856952" cy="725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552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183756" y="2162529"/>
            <a:ext cx="702457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4800" dirty="0"/>
              <a:t>Podróże w czasie z SQL Server 2016 dla każdego</a:t>
            </a:r>
            <a:endParaRPr lang="pl-PL" sz="48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91879" y="5055137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l-PL" dirty="0">
                <a:solidFill>
                  <a:schemeClr val="bg2">
                    <a:lumMod val="10000"/>
                  </a:schemeClr>
                </a:solidFill>
              </a:rPr>
              <a:t>Damian Widera</a:t>
            </a:r>
          </a:p>
          <a:p>
            <a:r>
              <a:rPr lang="pl-PL" dirty="0">
                <a:solidFill>
                  <a:schemeClr val="bg2">
                    <a:lumMod val="10000"/>
                  </a:schemeClr>
                </a:solidFill>
              </a:rPr>
              <a:t>damian.widera@euvic.pl</a:t>
            </a:r>
          </a:p>
        </p:txBody>
      </p:sp>
      <p:sp>
        <p:nvSpPr>
          <p:cNvPr id="2" name="Rectangle 1"/>
          <p:cNvSpPr/>
          <p:nvPr/>
        </p:nvSpPr>
        <p:spPr>
          <a:xfrm>
            <a:off x="2050868" y="1316389"/>
            <a:ext cx="74768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3600" dirty="0"/>
              <a:t>https://goo.gl/Kfz8RH</a:t>
            </a:r>
            <a:endParaRPr lang="pl-PL" sz="36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459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dirty="0"/>
              <a:t>Time travelling – </a:t>
            </a:r>
            <a:r>
              <a:rPr lang="pl-PL" dirty="0" err="1"/>
              <a:t>how</a:t>
            </a:r>
            <a:r>
              <a:rPr lang="pl-PL" dirty="0"/>
              <a:t> to </a:t>
            </a:r>
            <a:r>
              <a:rPr lang="pl-PL" dirty="0" err="1"/>
              <a:t>make</a:t>
            </a:r>
            <a:r>
              <a:rPr lang="pl-PL" dirty="0"/>
              <a:t> </a:t>
            </a:r>
            <a:r>
              <a:rPr lang="pl-PL" dirty="0" err="1"/>
              <a:t>it</a:t>
            </a:r>
            <a:r>
              <a:rPr lang="pl-PL" dirty="0"/>
              <a:t> </a:t>
            </a:r>
            <a:r>
              <a:rPr lang="pl-PL" dirty="0" err="1"/>
              <a:t>possible</a:t>
            </a:r>
            <a:r>
              <a:rPr lang="pl-PL" dirty="0"/>
              <a:t> with SQL Server 2016</a:t>
            </a:r>
          </a:p>
          <a:p>
            <a:pPr lvl="1"/>
            <a:r>
              <a:rPr lang="pl-PL" dirty="0"/>
              <a:t>At </a:t>
            </a:r>
            <a:r>
              <a:rPr lang="pl-PL" dirty="0" err="1"/>
              <a:t>least</a:t>
            </a:r>
            <a:r>
              <a:rPr lang="pl-PL" dirty="0"/>
              <a:t> in </a:t>
            </a:r>
            <a:r>
              <a:rPr lang="pl-PL" dirty="0" err="1"/>
              <a:t>terms</a:t>
            </a:r>
            <a:r>
              <a:rPr lang="pl-PL" dirty="0"/>
              <a:t> of </a:t>
            </a:r>
            <a:r>
              <a:rPr lang="pl-PL" b="1" u="sng" dirty="0"/>
              <a:t>data</a:t>
            </a:r>
            <a:r>
              <a:rPr lang="pl-PL" b="1" dirty="0"/>
              <a:t> </a:t>
            </a:r>
            <a:r>
              <a:rPr lang="pl-PL" dirty="0"/>
              <a:t>not </a:t>
            </a:r>
            <a:r>
              <a:rPr lang="pl-PL" dirty="0" err="1"/>
              <a:t>actual</a:t>
            </a:r>
            <a:r>
              <a:rPr lang="pl-PL" dirty="0"/>
              <a:t> </a:t>
            </a:r>
            <a:r>
              <a:rPr lang="pl-PL" u="sng" dirty="0" err="1"/>
              <a:t>time</a:t>
            </a:r>
            <a:r>
              <a:rPr lang="pl-PL" u="sng" dirty="0"/>
              <a:t> </a:t>
            </a:r>
            <a:r>
              <a:rPr lang="pl-PL" u="sng" dirty="0" err="1"/>
              <a:t>journey</a:t>
            </a:r>
            <a:endParaRPr lang="en-US" u="sn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Today</a:t>
            </a:r>
            <a:r>
              <a:rPr lang="pl-PL" dirty="0"/>
              <a:t> I </a:t>
            </a:r>
            <a:r>
              <a:rPr lang="pl-PL" dirty="0" err="1"/>
              <a:t>am</a:t>
            </a:r>
            <a:r>
              <a:rPr lang="pl-PL" dirty="0"/>
              <a:t> </a:t>
            </a:r>
            <a:r>
              <a:rPr lang="pl-PL" dirty="0" err="1"/>
              <a:t>going</a:t>
            </a:r>
            <a:r>
              <a:rPr lang="pl-PL" dirty="0"/>
              <a:t> to </a:t>
            </a:r>
            <a:r>
              <a:rPr lang="pl-PL" dirty="0" err="1"/>
              <a:t>tell</a:t>
            </a:r>
            <a:r>
              <a:rPr lang="pl-PL" dirty="0"/>
              <a:t> </a:t>
            </a:r>
            <a:r>
              <a:rPr lang="pl-PL" dirty="0" err="1"/>
              <a:t>about</a:t>
            </a:r>
            <a:r>
              <a:rPr lang="pl-PL" dirty="0"/>
              <a:t>….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1750" y="2991532"/>
            <a:ext cx="3714750" cy="2460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13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149526"/>
            <a:ext cx="8686800" cy="5211763"/>
          </a:xfrm>
        </p:spPr>
        <p:txBody>
          <a:bodyPr>
            <a:noAutofit/>
          </a:bodyPr>
          <a:lstStyle/>
          <a:p>
            <a:pPr marL="428625" indent="-428625"/>
            <a:r>
              <a:rPr lang="en-US" sz="2400" dirty="0"/>
              <a:t>How you monitor data changes now?</a:t>
            </a:r>
            <a:endParaRPr lang="pl-PL" sz="2400" dirty="0"/>
          </a:p>
          <a:p>
            <a:pPr marL="600075" lvl="2" indent="-428625"/>
            <a:r>
              <a:rPr lang="en-US" sz="2400" dirty="0"/>
              <a:t>Trigger</a:t>
            </a:r>
            <a:r>
              <a:rPr lang="pl-PL" sz="2400" dirty="0"/>
              <a:t>s</a:t>
            </a:r>
          </a:p>
          <a:p>
            <a:pPr marL="600075" lvl="2" indent="-428625"/>
            <a:r>
              <a:rPr lang="en-US" sz="2400" dirty="0"/>
              <a:t>Stored procedures</a:t>
            </a:r>
            <a:endParaRPr lang="pl-PL" sz="2400" dirty="0"/>
          </a:p>
          <a:p>
            <a:pPr marL="600075" lvl="2" indent="-428625"/>
            <a:r>
              <a:rPr lang="pl-PL" sz="2400" dirty="0"/>
              <a:t>Change Data Capture (CDC)</a:t>
            </a:r>
          </a:p>
          <a:p>
            <a:pPr marL="600075" lvl="2" indent="-428625"/>
            <a:r>
              <a:rPr lang="pl-PL" sz="2400" dirty="0"/>
              <a:t>Change Tracking (CT)</a:t>
            </a:r>
          </a:p>
          <a:p>
            <a:pPr marL="428625" indent="-428625"/>
            <a:endParaRPr lang="pl-PL" sz="2400" dirty="0"/>
          </a:p>
          <a:p>
            <a:pPr marL="428625" indent="-428625"/>
            <a:r>
              <a:rPr lang="en-US" sz="2400" dirty="0"/>
              <a:t>How to do it with </a:t>
            </a:r>
            <a:r>
              <a:rPr lang="pl-PL" sz="2400" dirty="0"/>
              <a:t>Temporal Tables </a:t>
            </a:r>
          </a:p>
          <a:p>
            <a:pPr marL="600075" lvl="2" indent="-428625"/>
            <a:r>
              <a:rPr lang="en-US" sz="2400" dirty="0"/>
              <a:t>Scenarios</a:t>
            </a:r>
            <a:endParaRPr lang="pl-PL" sz="2400" dirty="0"/>
          </a:p>
          <a:p>
            <a:pPr marL="600075" lvl="2" indent="-428625"/>
            <a:r>
              <a:rPr lang="en-US" sz="2400" dirty="0"/>
              <a:t>How it works?</a:t>
            </a:r>
            <a:endParaRPr lang="pl-PL" sz="2400" dirty="0"/>
          </a:p>
          <a:p>
            <a:pPr marL="600075" lvl="2" indent="-428625"/>
            <a:r>
              <a:rPr lang="pl-PL" sz="2400" dirty="0"/>
              <a:t>Developers ….</a:t>
            </a:r>
          </a:p>
          <a:p>
            <a:pPr marL="600075" lvl="2" indent="-428625"/>
            <a:r>
              <a:rPr lang="pl-PL" sz="2400" dirty="0"/>
              <a:t>Performance ….</a:t>
            </a:r>
          </a:p>
          <a:p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little bit of the history</a:t>
            </a:r>
          </a:p>
        </p:txBody>
      </p:sp>
    </p:spTree>
    <p:extLst>
      <p:ext uri="{BB962C8B-B14F-4D97-AF65-F5344CB8AC3E}">
        <p14:creationId xmlns:p14="http://schemas.microsoft.com/office/powerpoint/2010/main" val="316459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377247"/>
            <a:ext cx="8686800" cy="5211763"/>
          </a:xfrm>
        </p:spPr>
        <p:txBody>
          <a:bodyPr>
            <a:normAutofit/>
          </a:bodyPr>
          <a:lstStyle/>
          <a:p>
            <a:pPr marL="428625" indent="-428625">
              <a:spcBef>
                <a:spcPts val="900"/>
              </a:spcBef>
            </a:pPr>
            <a:r>
              <a:rPr lang="en-US" altLang="en-US" sz="2800" dirty="0"/>
              <a:t>All </a:t>
            </a:r>
            <a:r>
              <a:rPr lang="pl-PL" altLang="en-US" sz="2800" dirty="0"/>
              <a:t>SQL Server</a:t>
            </a:r>
            <a:r>
              <a:rPr lang="en-US" altLang="en-US" sz="2800" dirty="0"/>
              <a:t> versions &amp; editions</a:t>
            </a:r>
          </a:p>
          <a:p>
            <a:pPr marL="428625" indent="-428625">
              <a:spcBef>
                <a:spcPts val="900"/>
              </a:spcBef>
            </a:pPr>
            <a:r>
              <a:rPr lang="en-US" altLang="en-US" sz="2800" dirty="0"/>
              <a:t>Easy to implement </a:t>
            </a:r>
            <a:r>
              <a:rPr lang="pl-PL" altLang="en-US" sz="2800" dirty="0"/>
              <a:t>- </a:t>
            </a:r>
            <a:r>
              <a:rPr lang="en-US" altLang="en-US" sz="2800" dirty="0"/>
              <a:t>INSERT, UPDATE, DELETE</a:t>
            </a:r>
          </a:p>
          <a:p>
            <a:pPr marL="428625" indent="-428625">
              <a:spcBef>
                <a:spcPts val="900"/>
              </a:spcBef>
            </a:pPr>
            <a:r>
              <a:rPr lang="en-US" altLang="en-US" sz="2800" dirty="0"/>
              <a:t>But – changing the source table definition almost always require to change the code of the trigger</a:t>
            </a:r>
          </a:p>
          <a:p>
            <a:pPr marL="428625" indent="-428625">
              <a:spcBef>
                <a:spcPts val="900"/>
              </a:spcBef>
            </a:pPr>
            <a:r>
              <a:rPr lang="en-US" altLang="en-US" sz="2800" dirty="0"/>
              <a:t>Interact with other triggers </a:t>
            </a:r>
            <a:r>
              <a:rPr lang="pl-PL" altLang="en-US" sz="2800" dirty="0"/>
              <a:t>– </a:t>
            </a:r>
            <a:r>
              <a:rPr lang="en-US" altLang="en-US" sz="2800" dirty="0"/>
              <a:t>@@IDENTITY</a:t>
            </a:r>
            <a:endParaRPr lang="pl-PL" altLang="en-US" sz="2800" dirty="0"/>
          </a:p>
          <a:p>
            <a:pPr marL="428625" indent="-428625">
              <a:spcBef>
                <a:spcPts val="900"/>
              </a:spcBef>
            </a:pPr>
            <a:r>
              <a:rPr lang="en-US" altLang="en-US" sz="2800" dirty="0"/>
              <a:t>Transactional</a:t>
            </a:r>
          </a:p>
          <a:p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iggers</a:t>
            </a:r>
          </a:p>
        </p:txBody>
      </p:sp>
    </p:spTree>
    <p:extLst>
      <p:ext uri="{BB962C8B-B14F-4D97-AF65-F5344CB8AC3E}">
        <p14:creationId xmlns:p14="http://schemas.microsoft.com/office/powerpoint/2010/main" val="76133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5Tk8yKT0CFcLuI55Ex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5Tk8yKT0CFcLuI55Ex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5Tk8yKT0CFcLuI55ExRw"/>
</p:tagLst>
</file>

<file path=ppt/theme/theme1.xml><?xml version="1.0" encoding="utf-8"?>
<a:theme xmlns:a="http://schemas.openxmlformats.org/drawingml/2006/main" name="Motyw pakietu Office">
  <a:themeElements>
    <a:clrScheme name="Custom 1">
      <a:dk1>
        <a:srgbClr val="736F6F"/>
      </a:dk1>
      <a:lt1>
        <a:srgbClr val="FFFFFF"/>
      </a:lt1>
      <a:dk2>
        <a:srgbClr val="FFFFFF"/>
      </a:dk2>
      <a:lt2>
        <a:srgbClr val="F2F2F2"/>
      </a:lt2>
      <a:accent1>
        <a:srgbClr val="024C6A"/>
      </a:accent1>
      <a:accent2>
        <a:srgbClr val="DB445E"/>
      </a:accent2>
      <a:accent3>
        <a:srgbClr val="D8D8D8"/>
      </a:accent3>
      <a:accent4>
        <a:srgbClr val="B72740"/>
      </a:accent4>
      <a:accent5>
        <a:srgbClr val="B7CFFF"/>
      </a:accent5>
      <a:accent6>
        <a:srgbClr val="2F5496"/>
      </a:accent6>
      <a:hlink>
        <a:srgbClr val="0563C1"/>
      </a:hlink>
      <a:folHlink>
        <a:srgbClr val="954F72"/>
      </a:folHlink>
    </a:clrScheme>
    <a:fontScheme name="Custom 2">
      <a:majorFont>
        <a:latin typeface="Lato"/>
        <a:ea typeface=""/>
        <a:cs typeface=""/>
      </a:majorFont>
      <a:minorFont>
        <a:latin typeface="Calibri"/>
        <a:ea typeface=""/>
        <a:cs typeface=""/>
      </a:minorFont>
    </a:fontScheme>
    <a:fmtScheme name="Motyw pakietu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Pakiet Office">
      <a:dk1>
        <a:sysClr val="windowText" lastClr="000000"/>
      </a:dk1>
      <a:lt1>
        <a:sysClr val="window" lastClr="FFFFFF"/>
      </a:lt1>
      <a:dk2>
        <a:srgbClr val="6E747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85296"/>
      </a:hlink>
      <a:folHlink>
        <a:srgbClr val="993366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atMod val="100000"/>
                <a:shade val="0"/>
              </a:schemeClr>
            </a:gs>
            <a:gs pos="0">
              <a:scrgbClr r="0" g="0" b="0"/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47</TotalTime>
  <Words>844</Words>
  <Application>Microsoft Office PowerPoint</Application>
  <PresentationFormat>On-screen Show (4:3)</PresentationFormat>
  <Paragraphs>233</Paragraphs>
  <Slides>25</Slides>
  <Notes>0</Notes>
  <HiddenSlides>1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8" baseType="lpstr">
      <vt:lpstr>Lato</vt:lpstr>
      <vt:lpstr>Segoe UI Light</vt:lpstr>
      <vt:lpstr>Segoe UI Black</vt:lpstr>
      <vt:lpstr>Segoe UI Semilight</vt:lpstr>
      <vt:lpstr>Segoe UI</vt:lpstr>
      <vt:lpstr>Wingdings 3</vt:lpstr>
      <vt:lpstr>Open Sans</vt:lpstr>
      <vt:lpstr>Consolas</vt:lpstr>
      <vt:lpstr>Calibri</vt:lpstr>
      <vt:lpstr>Arial</vt:lpstr>
      <vt:lpstr>Segoe UI Semibold</vt:lpstr>
      <vt:lpstr>Motyw pakietu Office</vt:lpstr>
      <vt:lpstr>Blank</vt:lpstr>
      <vt:lpstr>PowerPoint Presentation</vt:lpstr>
      <vt:lpstr>PowerPoint Presentation</vt:lpstr>
      <vt:lpstr>Damian Widera</vt:lpstr>
      <vt:lpstr>CZŁONKOWIE GRUPY</vt:lpstr>
      <vt:lpstr>WYBRANI KLIENCI</vt:lpstr>
      <vt:lpstr>PowerPoint Presentation</vt:lpstr>
      <vt:lpstr>Today I am going to tell about….</vt:lpstr>
      <vt:lpstr>A little bit of the history</vt:lpstr>
      <vt:lpstr>Triggers</vt:lpstr>
      <vt:lpstr>Stored procedures </vt:lpstr>
      <vt:lpstr>Change tracking </vt:lpstr>
      <vt:lpstr>Change Data Capture </vt:lpstr>
      <vt:lpstr>SQL Server 2016 </vt:lpstr>
      <vt:lpstr>Temporal tables</vt:lpstr>
      <vt:lpstr>Why temporal</vt:lpstr>
      <vt:lpstr>How to start - remarks</vt:lpstr>
      <vt:lpstr>How to start – remarks - cont.</vt:lpstr>
      <vt:lpstr>How to start – remarks - cont.</vt:lpstr>
      <vt:lpstr>How to start – remarks - cont.</vt:lpstr>
      <vt:lpstr>How to start with temporal</vt:lpstr>
      <vt:lpstr>How the AS OF works – historical data</vt:lpstr>
      <vt:lpstr>How does system-time work?</vt:lpstr>
      <vt:lpstr>How does system-time work?</vt:lpstr>
      <vt:lpstr>Temporal data continuu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Joanna Klimczak</dc:creator>
  <cp:lastModifiedBy>Damian Widera</cp:lastModifiedBy>
  <cp:revision>226</cp:revision>
  <dcterms:created xsi:type="dcterms:W3CDTF">2015-08-03T07:33:01Z</dcterms:created>
  <dcterms:modified xsi:type="dcterms:W3CDTF">2016-10-07T15:03:27Z</dcterms:modified>
</cp:coreProperties>
</file>